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5.xml" ContentType="application/vnd.openxmlformats-officedocument.them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6.xml" ContentType="application/vnd.openxmlformats-officedocument.them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7.xml" ContentType="application/vnd.openxmlformats-officedocument.theme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heme/theme8.xml" ContentType="application/vnd.openxmlformats-officedocument.theme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2" r:id="rId1"/>
    <p:sldMasterId id="2147483768" r:id="rId2"/>
    <p:sldMasterId id="2147483789" r:id="rId3"/>
    <p:sldMasterId id="2147483812" r:id="rId4"/>
    <p:sldMasterId id="2147483833" r:id="rId5"/>
    <p:sldMasterId id="2147483860" r:id="rId6"/>
    <p:sldMasterId id="2147483877" r:id="rId7"/>
  </p:sldMasterIdLst>
  <p:notesMasterIdLst>
    <p:notesMasterId r:id="rId28"/>
  </p:notesMasterIdLst>
  <p:sldIdLst>
    <p:sldId id="529" r:id="rId8"/>
    <p:sldId id="912" r:id="rId9"/>
    <p:sldId id="915" r:id="rId10"/>
    <p:sldId id="914" r:id="rId11"/>
    <p:sldId id="916" r:id="rId12"/>
    <p:sldId id="918" r:id="rId13"/>
    <p:sldId id="917" r:id="rId14"/>
    <p:sldId id="923" r:id="rId15"/>
    <p:sldId id="922" r:id="rId16"/>
    <p:sldId id="920" r:id="rId17"/>
    <p:sldId id="921" r:id="rId18"/>
    <p:sldId id="924" r:id="rId19"/>
    <p:sldId id="926" r:id="rId20"/>
    <p:sldId id="930" r:id="rId21"/>
    <p:sldId id="927" r:id="rId22"/>
    <p:sldId id="928" r:id="rId23"/>
    <p:sldId id="929" r:id="rId24"/>
    <p:sldId id="931" r:id="rId25"/>
    <p:sldId id="932" r:id="rId26"/>
    <p:sldId id="937" r:id="rId27"/>
  </p:sldIdLst>
  <p:sldSz cx="11949113" cy="6721475"/>
  <p:notesSz cx="6858000" cy="9144000"/>
  <p:custDataLst>
    <p:tags r:id="rId2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8033" autoAdjust="0"/>
    <p:restoredTop sz="95473" autoAdjust="0"/>
  </p:normalViewPr>
  <p:slideViewPr>
    <p:cSldViewPr snapToGrid="0">
      <p:cViewPr varScale="1">
        <p:scale>
          <a:sx n="105" d="100"/>
          <a:sy n="105" d="100"/>
        </p:scale>
        <p:origin x="208" y="5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presProps" Target="presProps.xml"/><Relationship Id="rId8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2054EA-E603-4E35-A446-A17CA52DC7F5}" type="datetimeFigureOut">
              <a:rPr lang="en-AU" smtClean="0"/>
              <a:t>3/4/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C4DCA6-27DC-4B3D-9559-54E46473187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137087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255.xml"/><Relationship Id="rId2" Type="http://schemas.openxmlformats.org/officeDocument/2006/relationships/tags" Target="../tags/tag254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257.xml"/><Relationship Id="rId2" Type="http://schemas.openxmlformats.org/officeDocument/2006/relationships/tags" Target="../tags/tag256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9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261.xml"/><Relationship Id="rId2" Type="http://schemas.openxmlformats.org/officeDocument/2006/relationships/tags" Target="../tags/tag260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263.xml"/><Relationship Id="rId7" Type="http://schemas.openxmlformats.org/officeDocument/2006/relationships/image" Target="../media/image10.emf"/><Relationship Id="rId2" Type="http://schemas.openxmlformats.org/officeDocument/2006/relationships/tags" Target="../tags/tag262.xml"/><Relationship Id="rId1" Type="http://schemas.openxmlformats.org/officeDocument/2006/relationships/vmlDrawing" Target="../drawings/vmlDrawing69.vml"/><Relationship Id="rId6" Type="http://schemas.openxmlformats.org/officeDocument/2006/relationships/oleObject" Target="../embeddings/oleObject68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10.emf"/><Relationship Id="rId2" Type="http://schemas.openxmlformats.org/officeDocument/2006/relationships/tags" Target="../tags/tag5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12.png"/><Relationship Id="rId2" Type="http://schemas.openxmlformats.org/officeDocument/2006/relationships/tags" Target="../tags/tag5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7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7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w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7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0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10.emf"/><Relationship Id="rId2" Type="http://schemas.openxmlformats.org/officeDocument/2006/relationships/tags" Target="../tags/tag91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image" Target="../media/image12.png"/><Relationship Id="rId2" Type="http://schemas.openxmlformats.org/officeDocument/2006/relationships/tags" Target="../tags/tag9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19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20.emf"/><Relationship Id="rId2" Type="http://schemas.openxmlformats.org/officeDocument/2006/relationships/tags" Target="../tags/tag99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image" Target="../media/image10.emf"/><Relationship Id="rId2" Type="http://schemas.openxmlformats.org/officeDocument/2006/relationships/tags" Target="../tags/tag102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w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7" Type="http://schemas.openxmlformats.org/officeDocument/2006/relationships/image" Target="../media/image10.emf"/><Relationship Id="rId2" Type="http://schemas.openxmlformats.org/officeDocument/2006/relationships/tags" Target="../tags/tag105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7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0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7" Type="http://schemas.openxmlformats.org/officeDocument/2006/relationships/image" Target="../media/image10.emf"/><Relationship Id="rId2" Type="http://schemas.openxmlformats.org/officeDocument/2006/relationships/tags" Target="../tags/tag134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7" Type="http://schemas.openxmlformats.org/officeDocument/2006/relationships/image" Target="../media/image12.png"/><Relationship Id="rId2" Type="http://schemas.openxmlformats.org/officeDocument/2006/relationships/tags" Target="../tags/tag136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4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42.bin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80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7" Type="http://schemas.openxmlformats.org/officeDocument/2006/relationships/image" Target="../media/image10.emf"/><Relationship Id="rId2" Type="http://schemas.openxmlformats.org/officeDocument/2006/relationships/tags" Target="../tags/tag187.xml"/><Relationship Id="rId1" Type="http://schemas.openxmlformats.org/officeDocument/2006/relationships/vmlDrawing" Target="../drawings/vmlDrawing49.vml"/><Relationship Id="rId6" Type="http://schemas.openxmlformats.org/officeDocument/2006/relationships/oleObject" Target="../embeddings/oleObject49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7" Type="http://schemas.openxmlformats.org/officeDocument/2006/relationships/image" Target="../media/image12.png"/><Relationship Id="rId2" Type="http://schemas.openxmlformats.org/officeDocument/2006/relationships/tags" Target="../tags/tag189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1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96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9.png"/><Relationship Id="rId2" Type="http://schemas.openxmlformats.org/officeDocument/2006/relationships/tags" Target="../tags/tag214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4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9.png"/><Relationship Id="rId2" Type="http://schemas.openxmlformats.org/officeDocument/2006/relationships/tags" Target="../tags/tag215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6.w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55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9.png"/><Relationship Id="rId2" Type="http://schemas.openxmlformats.org/officeDocument/2006/relationships/tags" Target="../tags/tag216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3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6.bin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7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219.xml"/><Relationship Id="rId2" Type="http://schemas.openxmlformats.org/officeDocument/2006/relationships/tags" Target="../tags/tag21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221.xml"/><Relationship Id="rId2" Type="http://schemas.openxmlformats.org/officeDocument/2006/relationships/tags" Target="../tags/tag220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223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226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228.xml"/><Relationship Id="rId7" Type="http://schemas.openxmlformats.org/officeDocument/2006/relationships/image" Target="../media/image10.emf"/><Relationship Id="rId2" Type="http://schemas.openxmlformats.org/officeDocument/2006/relationships/tags" Target="../tags/tag227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60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7" Type="http://schemas.openxmlformats.org/officeDocument/2006/relationships/image" Target="../media/image12.png"/><Relationship Id="rId2" Type="http://schemas.openxmlformats.org/officeDocument/2006/relationships/tags" Target="../tags/tag229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233.xml"/><Relationship Id="rId2" Type="http://schemas.openxmlformats.org/officeDocument/2006/relationships/tags" Target="../tags/tag232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3.bin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99582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7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4317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307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8" y="1619250"/>
            <a:ext cx="11049000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5739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7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11048175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573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294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5328000" cy="4356000"/>
          </a:xfrm>
        </p:spPr>
        <p:txBody>
          <a:bodyPr wrap="square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78488" y="1619250"/>
            <a:ext cx="5346000" cy="435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4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1191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2405579"/>
            <a:ext cx="5464800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4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4297015"/>
            <a:ext cx="3636000" cy="216000"/>
          </a:xfrm>
        </p:spPr>
        <p:txBody>
          <a:bodyPr anchor="b" anchorCtr="0">
            <a:noAutofit/>
          </a:bodyPr>
          <a:lstStyle>
            <a:lvl1pPr>
              <a:defRPr sz="12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4521652"/>
            <a:ext cx="3636000" cy="216000"/>
          </a:xfrm>
        </p:spPr>
        <p:txBody>
          <a:bodyPr>
            <a:noAutofit/>
          </a:bodyPr>
          <a:lstStyle>
            <a:lvl1pPr>
              <a:defRPr sz="12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04545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80927" y="1616399"/>
            <a:ext cx="5009988" cy="4500000"/>
            <a:chOff x="5180927" y="1616399"/>
            <a:chExt cx="5009988" cy="4500000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5180927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68552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019091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5487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 dirty="0">
              <a:solidFill>
                <a:schemeClr val="tx2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475487" y="1620000"/>
            <a:ext cx="4500000" cy="115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7" y="230187"/>
            <a:ext cx="11048400" cy="39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865" y="1620000"/>
            <a:ext cx="2304000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7766357" y="1620000"/>
            <a:ext cx="2304000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259865" y="1897200"/>
            <a:ext cx="2304000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200" b="0" baseline="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7766357" y="1897200"/>
            <a:ext cx="2304000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GB" sz="1200" b="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67514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31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8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88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1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7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9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0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1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2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3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88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8" y="3430800"/>
            <a:ext cx="11043035" cy="0"/>
            <a:chOff x="475488" y="3430800"/>
            <a:chExt cx="11043035" cy="0"/>
          </a:xfrm>
        </p:grpSpPr>
        <p:sp>
          <p:nvSpPr>
            <p:cNvPr id="29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30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3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3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3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</p:grpSp>
      <p:sp>
        <p:nvSpPr>
          <p:cNvPr id="3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6668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0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342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</p:grpSp>
      <p:sp>
        <p:nvSpPr>
          <p:cNvPr id="2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66936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339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9" y="1619251"/>
            <a:ext cx="5304423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1637" y="1619251"/>
            <a:ext cx="5348287" cy="1615827"/>
          </a:xfrm>
        </p:spPr>
        <p:txBody>
          <a:bodyPr>
            <a:noAutofit/>
          </a:bodyPr>
          <a:lstStyle>
            <a:lvl2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11048399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FB4AE94D-190D-0A40-B644-B23C6368A90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9550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331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63070" y="6508272"/>
            <a:ext cx="312265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5328000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77888" y="1619250"/>
            <a:ext cx="5346000" cy="4356000"/>
          </a:xfrm>
        </p:spPr>
        <p:txBody>
          <a:bodyPr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84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8820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lid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55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60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5480812" cy="1108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99934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 Blac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79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8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88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88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8" y="3430800"/>
            <a:ext cx="11043035" cy="0"/>
            <a:chOff x="475488" y="3430800"/>
            <a:chExt cx="11043035" cy="0"/>
          </a:xfrm>
        </p:grpSpPr>
        <p:sp>
          <p:nvSpPr>
            <p:cNvPr id="28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51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5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5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5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</p:grpSp>
      <p:sp>
        <p:nvSpPr>
          <p:cNvPr id="50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84717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592"/>
          <a:stretch/>
        </p:blipFill>
        <p:spPr>
          <a:xfrm>
            <a:off x="0" y="0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403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/>
            </a:p>
          </p:txBody>
        </p:sp>
      </p:grpSp>
      <p:sp>
        <p:nvSpPr>
          <p:cNvPr id="2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14220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27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9" y="2019600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9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9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1005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3" y="0"/>
            <a:ext cx="6804000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1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58599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77930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6249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5" name="Straight Connector 4"/>
          <p:cNvCxnSpPr/>
          <p:nvPr userDrawn="1"/>
        </p:nvCxnSpPr>
        <p:spPr>
          <a:xfrm flipH="1">
            <a:off x="3254400" y="3060000"/>
            <a:ext cx="1727758" cy="299606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9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68989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451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24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00" y="3050427"/>
            <a:ext cx="5584311" cy="75608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475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38855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0C36BD-5ACC-504E-A464-A397FD31E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85F1D2-F829-CC41-9851-3A05491470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EA3DF5-3D68-A946-9346-47F6BB7941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2665C-FA2C-1141-9B99-5337A61E1161}" type="datetimeFigureOut">
              <a:rPr lang="en-US" smtClean="0"/>
              <a:t>4/3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9E0066-370E-CD44-AE6E-763396D2AF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83F98B-6C84-8142-87DC-8638128E9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9DA49-E108-F443-A05E-0507754FDF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2671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20000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949E5-6F69-0E4D-93A1-DBCAC82C43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278" y="1675702"/>
            <a:ext cx="10306110" cy="2795946"/>
          </a:xfrm>
        </p:spPr>
        <p:txBody>
          <a:bodyPr anchor="b"/>
          <a:lstStyle>
            <a:lvl1pPr>
              <a:defRPr sz="588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948764-B2A6-9245-94A9-99E9A01405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5278" y="4498099"/>
            <a:ext cx="10306110" cy="1470322"/>
          </a:xfrm>
        </p:spPr>
        <p:txBody>
          <a:bodyPr/>
          <a:lstStyle>
            <a:lvl1pPr marL="0" indent="0">
              <a:buNone/>
              <a:defRPr sz="2352">
                <a:solidFill>
                  <a:schemeClr val="tx1">
                    <a:tint val="75000"/>
                  </a:schemeClr>
                </a:solidFill>
              </a:defRPr>
            </a:lvl1pPr>
            <a:lvl2pPr marL="448102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2pPr>
            <a:lvl3pPr marL="896203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3pPr>
            <a:lvl4pPr marL="1344305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4pPr>
            <a:lvl5pPr marL="1792407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5pPr>
            <a:lvl6pPr marL="2240509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6pPr>
            <a:lvl7pPr marL="2688610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7pPr>
            <a:lvl8pPr marL="3136712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8pPr>
            <a:lvl9pPr marL="3584814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D1F1CF-37EA-2145-8B54-D3432807A6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2665C-FA2C-1141-9B99-5337A61E1161}" type="datetimeFigureOut">
              <a:rPr lang="en-US" smtClean="0"/>
              <a:t>4/3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59351E-5D38-AC4B-AA18-2762FC7ED7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4ED62E-0AFA-6C45-B40C-D027E76410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9DA49-E108-F443-A05E-0507754FDF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3621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5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" y="906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9:22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 dirty="0">
                <a:solidFill>
                  <a:srgbClr val="000000"/>
                </a:solidFill>
              </a:rPr>
              <a:t>Printed 5/4/2017 11:06 AM Pacific Standard Time</a:t>
            </a:r>
          </a:p>
        </p:txBody>
      </p:sp>
      <p:sp>
        <p:nvSpPr>
          <p:cNvPr id="14622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18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66229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6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899" y="-1193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400" b="0"/>
            </a:lvl1pPr>
          </a:lstStyle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7964900" cy="6721475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9:22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 dirty="0">
                <a:solidFill>
                  <a:srgbClr val="000000"/>
                </a:solidFill>
              </a:rPr>
              <a:t>Printed 5/4/2017 11:06 AM Pacific Standard Time</a:t>
            </a:r>
          </a:p>
        </p:txBody>
      </p:sp>
      <p:sp>
        <p:nvSpPr>
          <p:cNvPr id="37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sp>
        <p:nvSpPr>
          <p:cNvPr id="23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26" name="Straight Connector 25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sp>
        <p:nvSpPr>
          <p:cNvPr id="13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965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6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899" y="-1193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400" b="0"/>
            </a:lvl1pPr>
          </a:lstStyle>
          <a:p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2033"/>
            <a:ext cx="8035962" cy="6719442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gray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1067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9:22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 dirty="0">
                <a:solidFill>
                  <a:srgbClr val="000000"/>
                </a:solidFill>
              </a:rPr>
              <a:t>Printed 5/4/2017 11:06 AM Pacific Standard Time</a:t>
            </a:r>
          </a:p>
        </p:txBody>
      </p:sp>
      <p:sp>
        <p:nvSpPr>
          <p:cNvPr id="13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sp>
        <p:nvSpPr>
          <p:cNvPr id="16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75845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1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5200" y="1620001"/>
            <a:ext cx="6300000" cy="1800000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GB" sz="3600" b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</a:pPr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61113" y="4057475"/>
            <a:ext cx="3888000" cy="2664000"/>
          </a:xfrm>
        </p:spPr>
        <p:txBody>
          <a:bodyPr rIns="180000" bIns="360000" anchor="ctr" anchorCtr="0"/>
          <a:lstStyle>
            <a:lvl1pPr algn="r">
              <a:defRPr sz="20000" b="0" spc="-50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6422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2405579"/>
            <a:ext cx="5464800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4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4297015"/>
            <a:ext cx="3636000" cy="216000"/>
          </a:xfrm>
        </p:spPr>
        <p:txBody>
          <a:bodyPr anchor="b" anchorCtr="0">
            <a:noAutofit/>
          </a:bodyPr>
          <a:lstStyle>
            <a:lvl1pPr>
              <a:defRPr sz="12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4521652"/>
            <a:ext cx="3636000" cy="216000"/>
          </a:xfrm>
        </p:spPr>
        <p:txBody>
          <a:bodyPr>
            <a:noAutofit/>
          </a:bodyPr>
          <a:lstStyle>
            <a:lvl1pPr>
              <a:defRPr sz="1200" b="0" baseline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87068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6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" y="906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9:22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 dirty="0">
                <a:solidFill>
                  <a:srgbClr val="000000"/>
                </a:solidFill>
              </a:rPr>
              <a:t>Printed 5/4/2017 11:06 AM Pacific Standard Tim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Thank you</a:t>
            </a:r>
            <a:endParaRPr lang="x-none" noProof="0" dirty="0"/>
          </a:p>
        </p:txBody>
      </p:sp>
      <p:sp>
        <p:nvSpPr>
          <p:cNvPr id="16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5112000"/>
            <a:ext cx="463320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10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04908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8263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68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8" y="1619250"/>
            <a:ext cx="11049000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1073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12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63070" y="6508272"/>
            <a:ext cx="312265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5328000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77888" y="1619250"/>
            <a:ext cx="5346000" cy="4356000"/>
          </a:xfrm>
        </p:spPr>
        <p:txBody>
          <a:bodyPr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84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3183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2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906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WORKING DRAFT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6:21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Printed 5/4/2017 11:06 AM Pacific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14622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18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68019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lid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736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60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5480812" cy="1108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07325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 Blac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76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8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88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88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8" y="3430800"/>
            <a:ext cx="11043035" cy="0"/>
            <a:chOff x="475488" y="3430800"/>
            <a:chExt cx="11043035" cy="0"/>
          </a:xfrm>
        </p:grpSpPr>
        <p:sp>
          <p:nvSpPr>
            <p:cNvPr id="28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1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50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31410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0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784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2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250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808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9" y="2019600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9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9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1005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3" y="0"/>
            <a:ext cx="6804000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1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57815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77930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6249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5" name="Straight Connector 4"/>
          <p:cNvCxnSpPr/>
          <p:nvPr userDrawn="1"/>
        </p:nvCxnSpPr>
        <p:spPr>
          <a:xfrm flipH="1">
            <a:off x="3254400" y="3060000"/>
            <a:ext cx="1727758" cy="299606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9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40978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832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85006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000" y="3050427"/>
            <a:ext cx="5584311" cy="75608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856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8784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904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9809A9-4E0B-4264-8829-16B5DF573A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0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2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47" eaLnBrk="1"/>
            <a:endParaRPr lang="en-GB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GB" sz="800" smtClean="0">
                <a:solidFill>
                  <a:schemeClr val="tx1"/>
                </a:solidFill>
              </a:rPr>
              <a:pPr lvl="0"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322264" y="230190"/>
            <a:ext cx="11301792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C2EB9BC6-2933-5D46-BFF6-9AD5204CE90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8220778" y="6508274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1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GB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2858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"/>
            <a:ext cx="11949291" cy="6721475"/>
          </a:xfrm>
          <a:prstGeom prst="rect">
            <a:avLst/>
          </a:prstGeom>
        </p:spPr>
      </p:pic>
      <p:sp>
        <p:nvSpPr>
          <p:cNvPr id="2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8" y="900001"/>
            <a:ext cx="5794927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928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9" y="230190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197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198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51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054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4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4910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7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198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4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054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7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4910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91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054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2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0911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3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197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4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054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5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0911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20" name="SlideLogoText">
            <a:extLst>
              <a:ext uri="{FF2B5EF4-FFF2-40B4-BE49-F238E27FC236}">
                <a16:creationId xmlns:a16="http://schemas.microsoft.com/office/drawing/2014/main" id="{62F67013-12AF-934A-ACE4-CE4196CC6D69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4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1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GB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68951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ies 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000" y="1"/>
            <a:ext cx="4065290" cy="67214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5200" y="1620001"/>
            <a:ext cx="7506000" cy="540000"/>
          </a:xfrm>
        </p:spPr>
        <p:txBody>
          <a:bodyPr tIns="3600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2340001"/>
            <a:ext cx="1044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11" name="Picture Placeholder 11"/>
          <p:cNvSpPr>
            <a:spLocks noGrp="1" noChangeAspect="1"/>
          </p:cNvSpPr>
          <p:nvPr>
            <p:ph type="pic" sz="quarter" idx="19"/>
          </p:nvPr>
        </p:nvSpPr>
        <p:spPr>
          <a:xfrm>
            <a:off x="1627200" y="23760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14" name="Picture Placeholder 11"/>
          <p:cNvSpPr>
            <a:spLocks noGrp="1" noChangeAspect="1"/>
          </p:cNvSpPr>
          <p:nvPr>
            <p:ph type="pic" sz="quarter" idx="21"/>
          </p:nvPr>
        </p:nvSpPr>
        <p:spPr>
          <a:xfrm>
            <a:off x="4325100" y="23760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19" name="Picture Placeholder 11"/>
          <p:cNvSpPr>
            <a:spLocks noGrp="1" noChangeAspect="1"/>
          </p:cNvSpPr>
          <p:nvPr>
            <p:ph type="pic" sz="quarter" idx="23"/>
          </p:nvPr>
        </p:nvSpPr>
        <p:spPr>
          <a:xfrm>
            <a:off x="7020000" y="23760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2" name="Picture Placeholder 11"/>
          <p:cNvSpPr>
            <a:spLocks noGrp="1" noChangeAspect="1"/>
          </p:cNvSpPr>
          <p:nvPr>
            <p:ph type="pic" sz="quarter" idx="25"/>
          </p:nvPr>
        </p:nvSpPr>
        <p:spPr>
          <a:xfrm>
            <a:off x="1627200" y="3654000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5" name="Picture Placeholder 11"/>
          <p:cNvSpPr>
            <a:spLocks noGrp="1" noChangeAspect="1"/>
          </p:cNvSpPr>
          <p:nvPr>
            <p:ph type="pic" sz="quarter" idx="27"/>
          </p:nvPr>
        </p:nvSpPr>
        <p:spPr>
          <a:xfrm>
            <a:off x="4325100" y="3654000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8" name="Picture Placeholder 11"/>
          <p:cNvSpPr>
            <a:spLocks noGrp="1" noChangeAspect="1"/>
          </p:cNvSpPr>
          <p:nvPr>
            <p:ph type="pic" sz="quarter" idx="29"/>
          </p:nvPr>
        </p:nvSpPr>
        <p:spPr>
          <a:xfrm>
            <a:off x="7020000" y="3654000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3171600" y="2340001"/>
            <a:ext cx="1044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5868001" y="2340001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2" hasCustomPrompt="1"/>
          </p:nvPr>
        </p:nvSpPr>
        <p:spPr>
          <a:xfrm>
            <a:off x="475200" y="36180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33" hasCustomPrompt="1"/>
          </p:nvPr>
        </p:nvSpPr>
        <p:spPr>
          <a:xfrm>
            <a:off x="3171600" y="36180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34" hasCustomPrompt="1"/>
          </p:nvPr>
        </p:nvSpPr>
        <p:spPr>
          <a:xfrm>
            <a:off x="5868001" y="36180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5" name="Picture Placeholder 11"/>
          <p:cNvSpPr>
            <a:spLocks noGrp="1" noChangeAspect="1"/>
          </p:cNvSpPr>
          <p:nvPr>
            <p:ph type="pic" sz="quarter" idx="35"/>
          </p:nvPr>
        </p:nvSpPr>
        <p:spPr>
          <a:xfrm>
            <a:off x="1627200" y="49284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6" name="Picture Placeholder 11"/>
          <p:cNvSpPr>
            <a:spLocks noGrp="1" noChangeAspect="1"/>
          </p:cNvSpPr>
          <p:nvPr>
            <p:ph type="pic" sz="quarter" idx="36"/>
          </p:nvPr>
        </p:nvSpPr>
        <p:spPr>
          <a:xfrm>
            <a:off x="4325100" y="49284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7" name="Picture Placeholder 11"/>
          <p:cNvSpPr>
            <a:spLocks noGrp="1" noChangeAspect="1"/>
          </p:cNvSpPr>
          <p:nvPr>
            <p:ph type="pic" sz="quarter" idx="37"/>
          </p:nvPr>
        </p:nvSpPr>
        <p:spPr>
          <a:xfrm>
            <a:off x="7020000" y="4928401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475200" y="48924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3171600" y="48924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5868001" y="4892400"/>
            <a:ext cx="1080000" cy="864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4" name="Slide Number"/>
          <p:cNvSpPr txBox="1">
            <a:spLocks/>
          </p:cNvSpPr>
          <p:nvPr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GB" sz="800" smtClean="0">
                <a:solidFill>
                  <a:srgbClr val="000000"/>
                </a:solidFill>
              </a:rPr>
              <a:pPr/>
              <a:t>‹#›</a:t>
            </a:fld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27" name="SlideLogoText">
            <a:extLst>
              <a:ext uri="{FF2B5EF4-FFF2-40B4-BE49-F238E27FC236}">
                <a16:creationId xmlns:a16="http://schemas.microsoft.com/office/drawing/2014/main" id="{5FF585CB-A2E7-DA41-BF43-B464D572A1E6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4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1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GB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0769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2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899" y="-1193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400" b="0"/>
            </a:lvl1pPr>
          </a:lstStyle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64900" cy="6721475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WORKING DRAFT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6:21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Printed 5/4/2017 11:06 AM Pacific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37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sp>
        <p:nvSpPr>
          <p:cNvPr id="23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26" name="Straight Connector 25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sp>
        <p:nvSpPr>
          <p:cNvPr id="13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98970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52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1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085EFDF-D473-49E3-9FC2-33A0BB573C2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0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3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4" eaLnBrk="1"/>
            <a:endParaRPr lang="en-GB" sz="599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7" y="1619252"/>
            <a:ext cx="9115201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1" name="Slide Number"/>
          <p:cNvSpPr txBox="1">
            <a:spLocks/>
          </p:cNvSpPr>
          <p:nvPr/>
        </p:nvSpPr>
        <p:spPr bwMode="gray">
          <a:xfrm>
            <a:off x="11419923" y="650827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GB" sz="800" smtClean="0">
                <a:solidFill>
                  <a:schemeClr val="tx1"/>
                </a:solidFill>
              </a:rPr>
              <a:pPr lvl="0"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4391A4EA-E86C-884B-B584-1FE99578F157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8220778" y="6508274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1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GB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2216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0444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024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11048175" cy="4356000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9701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04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0"/>
            <a:ext cx="5328000" cy="4356000"/>
          </a:xfrm>
        </p:spPr>
        <p:txBody>
          <a:bodyPr wrap="square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78488" y="1619250"/>
            <a:ext cx="5346000" cy="435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4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7377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2405579"/>
            <a:ext cx="5464800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4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4297015"/>
            <a:ext cx="3636000" cy="216000"/>
          </a:xfrm>
        </p:spPr>
        <p:txBody>
          <a:bodyPr anchor="b" anchorCtr="0">
            <a:noAutofit/>
          </a:bodyPr>
          <a:lstStyle>
            <a:lvl1pPr>
              <a:defRPr sz="12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4521652"/>
            <a:ext cx="3636000" cy="216000"/>
          </a:xfrm>
        </p:spPr>
        <p:txBody>
          <a:bodyPr>
            <a:noAutofit/>
          </a:bodyPr>
          <a:lstStyle>
            <a:lvl1pPr>
              <a:defRPr sz="12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6243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80927" y="1616399"/>
            <a:ext cx="5009988" cy="4500000"/>
            <a:chOff x="5180927" y="1616399"/>
            <a:chExt cx="5009988" cy="4500000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5180927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68552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019091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5487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 dirty="0">
              <a:solidFill>
                <a:schemeClr val="tx2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475487" y="1620000"/>
            <a:ext cx="4500000" cy="115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7" y="230187"/>
            <a:ext cx="11048400" cy="39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865" y="1620000"/>
            <a:ext cx="2304000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7766357" y="1620000"/>
            <a:ext cx="2304000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600"/>
              </a:spcAft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259865" y="1897200"/>
            <a:ext cx="2304000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200" b="0" baseline="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7766357" y="1897200"/>
            <a:ext cx="2304000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GB" sz="1200" b="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66521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072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88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88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0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100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1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7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9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0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1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2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3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88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8" y="3430800"/>
            <a:ext cx="11043035" cy="0"/>
            <a:chOff x="475488" y="3430800"/>
            <a:chExt cx="11043035" cy="0"/>
          </a:xfrm>
        </p:grpSpPr>
        <p:sp>
          <p:nvSpPr>
            <p:cNvPr id="29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0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3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2380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0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096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6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5" y="2962800"/>
            <a:ext cx="2113200" cy="169277"/>
          </a:xfrm>
        </p:spPr>
        <p:txBody>
          <a:bodyPr wrap="square">
            <a:noAutofit/>
          </a:bodyPr>
          <a:lstStyle>
            <a:lvl1pPr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5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5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5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2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3268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120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9" y="2019600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9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9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1005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3" y="0"/>
            <a:ext cx="6804000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 dirty="0">
              <a:solidFill>
                <a:schemeClr val="tx2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24470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3015205" y="3060000"/>
            <a:ext cx="1968031" cy="3042286"/>
            <a:chOff x="3015205" y="3060000"/>
            <a:chExt cx="1968031" cy="3042286"/>
          </a:xfrm>
        </p:grpSpPr>
        <p:cxnSp>
          <p:nvCxnSpPr>
            <p:cNvPr id="21" name="Straight Connector 20"/>
            <p:cNvCxnSpPr/>
            <p:nvPr userDrawn="1"/>
          </p:nvCxnSpPr>
          <p:spPr>
            <a:xfrm flipH="1">
              <a:off x="3255478" y="3060000"/>
              <a:ext cx="1727758" cy="2996063"/>
            </a:xfrm>
            <a:prstGeom prst="line">
              <a:avLst/>
            </a:prstGeom>
            <a:ln w="158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Rectangle 3"/>
            <p:cNvSpPr/>
            <p:nvPr userDrawn="1"/>
          </p:nvSpPr>
          <p:spPr>
            <a:xfrm>
              <a:off x="3015205" y="6056567"/>
              <a:ext cx="335666" cy="457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" name="Group 1"/>
          <p:cNvGrpSpPr/>
          <p:nvPr userDrawn="1"/>
        </p:nvGrpSpPr>
        <p:grpSpPr>
          <a:xfrm>
            <a:off x="5177930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476249" y="3060000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2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0" y="230189"/>
            <a:ext cx="2952000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100" b="0"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9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80183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2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899" y="-1193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400" b="0"/>
            </a:lvl1pPr>
          </a:lstStyle>
          <a:p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769"/>
          <a:stretch/>
        </p:blipFill>
        <p:spPr>
          <a:xfrm>
            <a:off x="1" y="2033"/>
            <a:ext cx="8035962" cy="6719442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gray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1067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WORKING DRAFT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6:21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Printed 5/4/2017 11:06 AM Pacific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13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3373986"/>
            <a:ext cx="463254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281200"/>
            <a:ext cx="2817480" cy="381600"/>
          </a:xfrm>
          <a:prstGeom prst="rect">
            <a:avLst/>
          </a:prstGeom>
        </p:spPr>
      </p:pic>
      <p:sp>
        <p:nvSpPr>
          <p:cNvPr id="16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isclaimer-English (United States)"/>
          <p:cNvSpPr>
            <a:spLocks noChangeArrowheads="1"/>
          </p:cNvSpPr>
          <p:nvPr userDrawn="1"/>
        </p:nvSpPr>
        <p:spPr bwMode="gray">
          <a:xfrm>
            <a:off x="475488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897747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1620001"/>
            <a:ext cx="5464800" cy="2880000"/>
          </a:xfrm>
        </p:spPr>
        <p:txBody>
          <a:bodyPr tIns="36000" anchor="t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720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144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4500000" cy="1620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88" y="2339998"/>
            <a:ext cx="3636000" cy="21744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900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0"/>
          </p:nvPr>
        </p:nvSpPr>
        <p:spPr bwMode="gray">
          <a:xfrm>
            <a:off x="3129113" y="0"/>
            <a:ext cx="8820000" cy="6721475"/>
          </a:xfrm>
          <a:custGeom>
            <a:avLst/>
            <a:gdLst>
              <a:gd name="connsiteX0" fmla="*/ 0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0 w 8820000"/>
              <a:gd name="connsiteY4" fmla="*/ 0 h 6721475"/>
              <a:gd name="connsiteX0" fmla="*/ 3889948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3889948 w 8820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20000" h="6721475">
                <a:moveTo>
                  <a:pt x="3889948" y="0"/>
                </a:moveTo>
                <a:lnTo>
                  <a:pt x="8820000" y="0"/>
                </a:lnTo>
                <a:lnTo>
                  <a:pt x="8820000" y="6721475"/>
                </a:lnTo>
                <a:lnTo>
                  <a:pt x="0" y="6721475"/>
                </a:lnTo>
                <a:lnTo>
                  <a:pt x="3889948" y="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algn="ctr">
              <a:defRPr b="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1659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16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0"/>
          </p:nvPr>
        </p:nvSpPr>
        <p:spPr bwMode="gray">
          <a:xfrm>
            <a:off x="3129113" y="0"/>
            <a:ext cx="8820000" cy="6721475"/>
          </a:xfrm>
          <a:custGeom>
            <a:avLst/>
            <a:gdLst>
              <a:gd name="connsiteX0" fmla="*/ 0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0 w 8820000"/>
              <a:gd name="connsiteY4" fmla="*/ 0 h 6721475"/>
              <a:gd name="connsiteX0" fmla="*/ 3889948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3889948 w 8820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20000" h="6721475">
                <a:moveTo>
                  <a:pt x="3889948" y="0"/>
                </a:moveTo>
                <a:lnTo>
                  <a:pt x="8820000" y="0"/>
                </a:lnTo>
                <a:lnTo>
                  <a:pt x="8820000" y="6721475"/>
                </a:lnTo>
                <a:lnTo>
                  <a:pt x="0" y="6721475"/>
                </a:lnTo>
                <a:lnTo>
                  <a:pt x="3889948" y="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3767075"/>
            <a:ext cx="3636000" cy="180000"/>
          </a:xfrm>
        </p:spPr>
        <p:txBody>
          <a:bodyPr anchor="b" anchorCtr="0">
            <a:noAutofit/>
          </a:bodyPr>
          <a:lstStyle>
            <a:lvl1pPr>
              <a:defRPr sz="11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75200" y="3960000"/>
            <a:ext cx="3636000" cy="180000"/>
          </a:xfrm>
        </p:spPr>
        <p:txBody>
          <a:bodyPr>
            <a:noAutofit/>
          </a:bodyPr>
          <a:lstStyle>
            <a:lvl1pPr>
              <a:defRPr sz="11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88" y="2339998"/>
            <a:ext cx="3636000" cy="1080000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200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475200" y="2103649"/>
            <a:ext cx="188901" cy="197488"/>
            <a:chOff x="489966" y="2047068"/>
            <a:chExt cx="291054" cy="304285"/>
          </a:xfrm>
        </p:grpSpPr>
        <p:cxnSp>
          <p:nvCxnSpPr>
            <p:cNvPr id="24" name="Straight Connector 23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/>
          <p:cNvGrpSpPr/>
          <p:nvPr userDrawn="1"/>
        </p:nvGrpSpPr>
        <p:grpSpPr>
          <a:xfrm>
            <a:off x="475200" y="3488400"/>
            <a:ext cx="188901" cy="197488"/>
            <a:chOff x="489966" y="3827804"/>
            <a:chExt cx="291054" cy="304285"/>
          </a:xfrm>
        </p:grpSpPr>
        <p:cxnSp>
          <p:nvCxnSpPr>
            <p:cNvPr id="27" name="Straight Connector 26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4500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1861095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i's Int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6625369" y="306000"/>
            <a:ext cx="2497338" cy="5760000"/>
            <a:chOff x="6625369" y="306000"/>
            <a:chExt cx="2497338" cy="5760000"/>
          </a:xfrm>
        </p:grpSpPr>
        <p:cxnSp>
          <p:nvCxnSpPr>
            <p:cNvPr id="43" name="Straight Connector 42"/>
            <p:cNvCxnSpPr/>
            <p:nvPr userDrawn="1"/>
          </p:nvCxnSpPr>
          <p:spPr>
            <a:xfrm>
              <a:off x="9122707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>
              <a:off x="6625369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199" y="230400"/>
            <a:ext cx="5794927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7" y="1620000"/>
            <a:ext cx="5794927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Picture Placeholder 35"/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475486" y="3060000"/>
            <a:ext cx="5540907" cy="299144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3515673 w 5004000"/>
              <a:gd name="connsiteY2" fmla="*/ 3326126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108817"/>
              <a:gd name="connsiteY0" fmla="*/ 0 h 3326485"/>
              <a:gd name="connsiteX1" fmla="*/ 5108817 w 5108817"/>
              <a:gd name="connsiteY1" fmla="*/ 0 h 3326485"/>
              <a:gd name="connsiteX2" fmla="*/ 3515673 w 5108817"/>
              <a:gd name="connsiteY2" fmla="*/ 3326126 h 3326485"/>
              <a:gd name="connsiteX3" fmla="*/ 0 w 5108817"/>
              <a:gd name="connsiteY3" fmla="*/ 3326485 h 3326485"/>
              <a:gd name="connsiteX4" fmla="*/ 0 w 5108817"/>
              <a:gd name="connsiteY4" fmla="*/ 0 h 332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8817" h="3326485">
                <a:moveTo>
                  <a:pt x="0" y="0"/>
                </a:moveTo>
                <a:lnTo>
                  <a:pt x="5108817" y="0"/>
                </a:lnTo>
                <a:lnTo>
                  <a:pt x="3515673" y="3326126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bIns="36000" anchor="ctr" anchorCtr="0">
            <a:noAutofit/>
          </a:bodyPr>
          <a:lstStyle>
            <a:lvl1pPr algn="l">
              <a:defRPr sz="1400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26830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3" cy="6721376"/>
          </a:xfrm>
          <a:prstGeom prst="rect">
            <a:avLst/>
          </a:prstGeom>
        </p:spPr>
      </p:pic>
      <p:sp>
        <p:nvSpPr>
          <p:cNvPr id="5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224700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9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4132063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3420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43916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224700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9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4132063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3420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88" y="2339998"/>
            <a:ext cx="3420000" cy="21744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900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67744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3" cy="6721376"/>
          </a:xfrm>
          <a:prstGeom prst="rect">
            <a:avLst/>
          </a:prstGeom>
        </p:spPr>
      </p:pic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9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5796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42903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B Nerve Cell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7" y="900000"/>
            <a:ext cx="5794927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92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197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198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51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054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4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4910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7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198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4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054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7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4910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91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054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2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0910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3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197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4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054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5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0910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9627766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9627766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7"/>
          </p:nvPr>
        </p:nvSpPr>
        <p:spPr>
          <a:xfrm>
            <a:off x="8223766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8"/>
          </p:nvPr>
        </p:nvSpPr>
        <p:spPr>
          <a:xfrm>
            <a:off x="8223766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2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3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02470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i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949291" cy="67214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1620001"/>
            <a:ext cx="7506000" cy="540000"/>
          </a:xfrm>
        </p:spPr>
        <p:txBody>
          <a:bodyPr tIns="3600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7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488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344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19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5200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488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5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344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5200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344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1200" y="240557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487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344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1200" y="3926289"/>
            <a:ext cx="1368000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100" b="0">
                <a:solidFill>
                  <a:schemeClr val="tx1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80886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0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/>
          </p:nvPr>
        </p:nvSpPr>
        <p:spPr>
          <a:xfrm>
            <a:off x="475488" y="230400"/>
            <a:ext cx="8552424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7" y="1620000"/>
            <a:ext cx="8550841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30"/>
          </p:nvPr>
        </p:nvSpPr>
        <p:spPr>
          <a:xfrm>
            <a:off x="475197" y="3182938"/>
            <a:ext cx="8550000" cy="28797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38507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949111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5200" y="1620001"/>
            <a:ext cx="6300000" cy="1800000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GB" sz="3600" b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</a:pPr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61113" y="4057475"/>
            <a:ext cx="3888000" cy="2664000"/>
          </a:xfrm>
        </p:spPr>
        <p:txBody>
          <a:bodyPr rIns="180000" bIns="360000" anchor="ctr" anchorCtr="0"/>
          <a:lstStyle>
            <a:lvl1pPr algn="r">
              <a:defRPr sz="20000" b="0" spc="-50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75086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F9382F6-0422-4D6F-9724-B1D245A74E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97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F9382F6-0422-4D6F-9724-B1D245A74E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1949113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9" y="1620001"/>
            <a:ext cx="5464801" cy="2880000"/>
          </a:xfrm>
        </p:spPr>
        <p:txBody>
          <a:bodyPr tIns="36000" anchor="t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8226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1949113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1" y="2405579"/>
            <a:ext cx="5795999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5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2" y="4297016"/>
            <a:ext cx="3635999" cy="216000"/>
          </a:xfrm>
        </p:spPr>
        <p:txBody>
          <a:bodyPr anchor="b" anchorCtr="0">
            <a:noAutofit/>
          </a:bodyPr>
          <a:lstStyle>
            <a:lvl1pPr>
              <a:defRPr sz="1201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2" y="4521652"/>
            <a:ext cx="3635999" cy="216000"/>
          </a:xfrm>
        </p:spPr>
        <p:txBody>
          <a:bodyPr>
            <a:noAutofit/>
          </a:bodyPr>
          <a:lstStyle>
            <a:lvl1pPr>
              <a:defRPr sz="1201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9040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99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5"/>
          <p:cNvSpPr>
            <a:spLocks noGrp="1"/>
          </p:cNvSpPr>
          <p:nvPr>
            <p:ph type="pic" sz="quarter" idx="10"/>
          </p:nvPr>
        </p:nvSpPr>
        <p:spPr bwMode="gray">
          <a:xfrm>
            <a:off x="3129113" y="1"/>
            <a:ext cx="8820000" cy="6721475"/>
          </a:xfrm>
          <a:custGeom>
            <a:avLst/>
            <a:gdLst>
              <a:gd name="connsiteX0" fmla="*/ 0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0 w 8820000"/>
              <a:gd name="connsiteY4" fmla="*/ 0 h 6721475"/>
              <a:gd name="connsiteX0" fmla="*/ 3889948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3889948 w 8820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20000" h="6721475">
                <a:moveTo>
                  <a:pt x="3889948" y="0"/>
                </a:moveTo>
                <a:lnTo>
                  <a:pt x="8820000" y="0"/>
                </a:lnTo>
                <a:lnTo>
                  <a:pt x="8820000" y="6721475"/>
                </a:lnTo>
                <a:lnTo>
                  <a:pt x="0" y="6721475"/>
                </a:lnTo>
                <a:lnTo>
                  <a:pt x="3889948" y="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4500000" cy="1620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90" y="2339998"/>
            <a:ext cx="3635999" cy="21744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899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8848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022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5"/>
          <p:cNvSpPr>
            <a:spLocks noGrp="1"/>
          </p:cNvSpPr>
          <p:nvPr>
            <p:ph type="pic" sz="quarter" idx="10"/>
          </p:nvPr>
        </p:nvSpPr>
        <p:spPr bwMode="gray">
          <a:xfrm>
            <a:off x="3129113" y="1"/>
            <a:ext cx="8820000" cy="6721475"/>
          </a:xfrm>
          <a:custGeom>
            <a:avLst/>
            <a:gdLst>
              <a:gd name="connsiteX0" fmla="*/ 0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0 w 8820000"/>
              <a:gd name="connsiteY4" fmla="*/ 0 h 6721475"/>
              <a:gd name="connsiteX0" fmla="*/ 3889948 w 8820000"/>
              <a:gd name="connsiteY0" fmla="*/ 0 h 6721475"/>
              <a:gd name="connsiteX1" fmla="*/ 8820000 w 8820000"/>
              <a:gd name="connsiteY1" fmla="*/ 0 h 6721475"/>
              <a:gd name="connsiteX2" fmla="*/ 8820000 w 8820000"/>
              <a:gd name="connsiteY2" fmla="*/ 6721475 h 6721475"/>
              <a:gd name="connsiteX3" fmla="*/ 0 w 8820000"/>
              <a:gd name="connsiteY3" fmla="*/ 6721475 h 6721475"/>
              <a:gd name="connsiteX4" fmla="*/ 3889948 w 8820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20000" h="6721475">
                <a:moveTo>
                  <a:pt x="3889948" y="0"/>
                </a:moveTo>
                <a:lnTo>
                  <a:pt x="8820000" y="0"/>
                </a:lnTo>
                <a:lnTo>
                  <a:pt x="8820000" y="6721475"/>
                </a:lnTo>
                <a:lnTo>
                  <a:pt x="0" y="6721475"/>
                </a:lnTo>
                <a:lnTo>
                  <a:pt x="3889948" y="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2" y="3767076"/>
            <a:ext cx="3635999" cy="180000"/>
          </a:xfrm>
        </p:spPr>
        <p:txBody>
          <a:bodyPr anchor="b" anchorCtr="0">
            <a:noAutofit/>
          </a:bodyPr>
          <a:lstStyle>
            <a:lvl1pPr>
              <a:defRPr sz="1099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75202" y="3960000"/>
            <a:ext cx="3635999" cy="180000"/>
          </a:xfrm>
        </p:spPr>
        <p:txBody>
          <a:bodyPr>
            <a:noAutofit/>
          </a:bodyPr>
          <a:lstStyle>
            <a:lvl1pPr>
              <a:defRPr sz="1099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90" y="2339998"/>
            <a:ext cx="3635999" cy="1080000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201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475200" y="2103649"/>
            <a:ext cx="188902" cy="197488"/>
            <a:chOff x="489966" y="2047068"/>
            <a:chExt cx="291054" cy="304285"/>
          </a:xfrm>
        </p:grpSpPr>
        <p:cxnSp>
          <p:nvCxnSpPr>
            <p:cNvPr id="24" name="Straight Connector 23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/>
          <p:cNvGrpSpPr/>
          <p:nvPr userDrawn="1"/>
        </p:nvGrpSpPr>
        <p:grpSpPr>
          <a:xfrm>
            <a:off x="475200" y="3488401"/>
            <a:ext cx="188902" cy="197488"/>
            <a:chOff x="489966" y="3827804"/>
            <a:chExt cx="291054" cy="304285"/>
          </a:xfrm>
        </p:grpSpPr>
        <p:cxnSp>
          <p:nvCxnSpPr>
            <p:cNvPr id="27" name="Straight Connector 26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8" y="230400"/>
            <a:ext cx="4500000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56070D17-13A1-BD45-A346-7291AEB8F0F3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766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i's Int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6625370" y="306000"/>
            <a:ext cx="2497338" cy="5760000"/>
            <a:chOff x="6625369" y="306000"/>
            <a:chExt cx="2497338" cy="5760000"/>
          </a:xfrm>
        </p:grpSpPr>
        <p:cxnSp>
          <p:nvCxnSpPr>
            <p:cNvPr id="43" name="Straight Connector 42"/>
            <p:cNvCxnSpPr/>
            <p:nvPr userDrawn="1"/>
          </p:nvCxnSpPr>
          <p:spPr>
            <a:xfrm>
              <a:off x="9122707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>
              <a:off x="6625369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1" cy="5832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200" y="230401"/>
            <a:ext cx="5794928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8" y="1620000"/>
            <a:ext cx="5794928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Picture Placeholder 35"/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475487" y="3060001"/>
            <a:ext cx="5540907" cy="299144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3515673 w 5004000"/>
              <a:gd name="connsiteY2" fmla="*/ 3326126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108817"/>
              <a:gd name="connsiteY0" fmla="*/ 0 h 3326485"/>
              <a:gd name="connsiteX1" fmla="*/ 5108817 w 5108817"/>
              <a:gd name="connsiteY1" fmla="*/ 0 h 3326485"/>
              <a:gd name="connsiteX2" fmla="*/ 3515673 w 5108817"/>
              <a:gd name="connsiteY2" fmla="*/ 3326126 h 3326485"/>
              <a:gd name="connsiteX3" fmla="*/ 0 w 5108817"/>
              <a:gd name="connsiteY3" fmla="*/ 3326485 h 3326485"/>
              <a:gd name="connsiteX4" fmla="*/ 0 w 5108817"/>
              <a:gd name="connsiteY4" fmla="*/ 0 h 332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8817" h="3326485">
                <a:moveTo>
                  <a:pt x="0" y="0"/>
                </a:moveTo>
                <a:lnTo>
                  <a:pt x="5108817" y="0"/>
                </a:lnTo>
                <a:lnTo>
                  <a:pt x="3515673" y="3326126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LogoText">
            <a:extLst>
              <a:ext uri="{FF2B5EF4-FFF2-40B4-BE49-F238E27FC236}">
                <a16:creationId xmlns:a16="http://schemas.microsoft.com/office/drawing/2014/main" id="{3F7BC55D-3CF2-6947-A083-999203F160A4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094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ep Div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29"/>
          </p:nvPr>
        </p:nvSpPr>
        <p:spPr bwMode="gray">
          <a:xfrm>
            <a:off x="473075" y="2155825"/>
            <a:ext cx="8497670" cy="3906838"/>
          </a:xfrm>
          <a:custGeom>
            <a:avLst/>
            <a:gdLst>
              <a:gd name="connsiteX0" fmla="*/ 0 w 8497670"/>
              <a:gd name="connsiteY0" fmla="*/ 0 h 3906838"/>
              <a:gd name="connsiteX1" fmla="*/ 8497670 w 8497670"/>
              <a:gd name="connsiteY1" fmla="*/ 0 h 3906838"/>
              <a:gd name="connsiteX2" fmla="*/ 8497670 w 8497670"/>
              <a:gd name="connsiteY2" fmla="*/ 3906838 h 3906838"/>
              <a:gd name="connsiteX3" fmla="*/ 0 w 8497670"/>
              <a:gd name="connsiteY3" fmla="*/ 3906838 h 3906838"/>
              <a:gd name="connsiteX4" fmla="*/ 0 w 8497670"/>
              <a:gd name="connsiteY4" fmla="*/ 0 h 3906838"/>
              <a:gd name="connsiteX0" fmla="*/ 0 w 8497670"/>
              <a:gd name="connsiteY0" fmla="*/ 0 h 3906838"/>
              <a:gd name="connsiteX1" fmla="*/ 8497670 w 8497670"/>
              <a:gd name="connsiteY1" fmla="*/ 0 h 3906838"/>
              <a:gd name="connsiteX2" fmla="*/ 6229254 w 8497670"/>
              <a:gd name="connsiteY2" fmla="*/ 3906838 h 3906838"/>
              <a:gd name="connsiteX3" fmla="*/ 0 w 8497670"/>
              <a:gd name="connsiteY3" fmla="*/ 3906838 h 3906838"/>
              <a:gd name="connsiteX4" fmla="*/ 0 w 8497670"/>
              <a:gd name="connsiteY4" fmla="*/ 0 h 3906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7670" h="3906838">
                <a:moveTo>
                  <a:pt x="0" y="0"/>
                </a:moveTo>
                <a:lnTo>
                  <a:pt x="8497670" y="0"/>
                </a:lnTo>
                <a:lnTo>
                  <a:pt x="6229254" y="3906838"/>
                </a:lnTo>
                <a:lnTo>
                  <a:pt x="0" y="3906838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anchor="ctr" anchorCtr="0"/>
          <a:lstStyle>
            <a:lvl1pPr>
              <a:defRPr sz="1399" b="0"/>
            </a:lvl1pPr>
          </a:lstStyle>
          <a:p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36000">
            <a:noAutofit/>
          </a:bodyPr>
          <a:lstStyle>
            <a:lvl1pPr>
              <a:defRPr sz="1201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200" y="230401"/>
            <a:ext cx="5794928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LogoText">
            <a:extLst>
              <a:ext uri="{FF2B5EF4-FFF2-40B4-BE49-F238E27FC236}">
                <a16:creationId xmlns:a16="http://schemas.microsoft.com/office/drawing/2014/main" id="{0B98D9D0-73C9-CC4F-BB26-01F1777360D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0492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3" cy="6721376"/>
          </a:xfrm>
          <a:prstGeom prst="rect">
            <a:avLst/>
          </a:prstGeom>
        </p:spPr>
      </p:pic>
      <p:sp>
        <p:nvSpPr>
          <p:cNvPr id="5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224700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8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4132064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7" y="230400"/>
            <a:ext cx="3420001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2" name="SlideLogoText">
            <a:extLst>
              <a:ext uri="{FF2B5EF4-FFF2-40B4-BE49-F238E27FC236}">
                <a16:creationId xmlns:a16="http://schemas.microsoft.com/office/drawing/2014/main" id="{C1CC4BB8-449D-8A40-A538-2650B15D6B8D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2823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224700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8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4132064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7" y="230400"/>
            <a:ext cx="3420001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5487" y="2339998"/>
            <a:ext cx="3420001" cy="21744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899" b="0" spc="1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2" name="SlideLogoText">
            <a:extLst>
              <a:ext uri="{FF2B5EF4-FFF2-40B4-BE49-F238E27FC236}">
                <a16:creationId xmlns:a16="http://schemas.microsoft.com/office/drawing/2014/main" id="{091CFA5C-B37E-6D48-8BDA-A6DB882DC777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2380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49113" cy="6721376"/>
          </a:xfrm>
          <a:prstGeom prst="rect">
            <a:avLst/>
          </a:prstGeom>
        </p:spPr>
      </p:pic>
      <p:sp>
        <p:nvSpPr>
          <p:cNvPr id="5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722038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625368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89" y="230400"/>
            <a:ext cx="5795999" cy="136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EB8187FE-8691-7B4F-9C7F-5C744BCFFBE9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4431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046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SlideLogoText">
            <a:extLst>
              <a:ext uri="{FF2B5EF4-FFF2-40B4-BE49-F238E27FC236}">
                <a16:creationId xmlns:a16="http://schemas.microsoft.com/office/drawing/2014/main" id="{729CE14A-F203-2A47-8AB7-794AA042C5E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3411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1949113" cy="6721375"/>
          </a:xfrm>
          <a:prstGeom prst="rect">
            <a:avLst/>
          </a:prstGeom>
        </p:spPr>
      </p:pic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2405579"/>
            <a:ext cx="5464800" cy="1368000"/>
          </a:xfrm>
        </p:spPr>
        <p:txBody>
          <a:bodyPr anchor="ctr" anchorCtr="0">
            <a:noAutofit/>
          </a:bodyPr>
          <a:lstStyle>
            <a:lvl1pPr>
              <a:defRPr sz="2000" b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89966" y="2047068"/>
            <a:ext cx="291054" cy="304285"/>
            <a:chOff x="489966" y="2047068"/>
            <a:chExt cx="291054" cy="304285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 userDrawn="1"/>
        </p:nvGrpSpPr>
        <p:grpSpPr>
          <a:xfrm>
            <a:off x="489966" y="3827804"/>
            <a:ext cx="291054" cy="304285"/>
            <a:chOff x="489966" y="3827804"/>
            <a:chExt cx="291054" cy="304285"/>
          </a:xfrm>
        </p:grpSpPr>
        <p:cxnSp>
          <p:nvCxnSpPr>
            <p:cNvPr id="10" name="Straight Connector 9"/>
            <p:cNvCxnSpPr/>
            <p:nvPr userDrawn="1"/>
          </p:nvCxnSpPr>
          <p:spPr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5200" y="4297015"/>
            <a:ext cx="3636000" cy="216000"/>
          </a:xfrm>
        </p:spPr>
        <p:txBody>
          <a:bodyPr anchor="b" anchorCtr="0">
            <a:noAutofit/>
          </a:bodyPr>
          <a:lstStyle>
            <a:lvl1pPr>
              <a:defRPr sz="1200" b="0"/>
            </a:lvl1pPr>
          </a:lstStyle>
          <a:p>
            <a:pPr lvl="0"/>
            <a:r>
              <a:rPr lang="en-US" dirty="0"/>
              <a:t>Name Here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0" y="4521652"/>
            <a:ext cx="3636000" cy="216000"/>
          </a:xfrm>
        </p:spPr>
        <p:txBody>
          <a:bodyPr>
            <a:noAutofit/>
          </a:bodyPr>
          <a:lstStyle>
            <a:lvl1pPr>
              <a:defRPr sz="1200" b="0" baseline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Job title, Company Name Here</a:t>
            </a:r>
            <a:endParaRPr lang="en-GB" dirty="0"/>
          </a:p>
        </p:txBody>
      </p:sp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69589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7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7" y="1619251"/>
            <a:ext cx="9115201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8" name="SlideLogoText">
            <a:extLst>
              <a:ext uri="{FF2B5EF4-FFF2-40B4-BE49-F238E27FC236}">
                <a16:creationId xmlns:a16="http://schemas.microsoft.com/office/drawing/2014/main" id="{A24A78CC-C405-9F4E-9B0D-8BF85F4CCD3C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3587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094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9" y="1619251"/>
            <a:ext cx="5304423" cy="1615827"/>
          </a:xfrm>
        </p:spPr>
        <p:txBody>
          <a:bodyPr wrap="square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1637" y="1619251"/>
            <a:ext cx="5348287" cy="161582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DEF05878-6699-E44A-9C27-652C634EDBC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1106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80927" y="1616399"/>
            <a:ext cx="5009989" cy="4500000"/>
            <a:chOff x="5180927" y="1616399"/>
            <a:chExt cx="5009988" cy="4500000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5180927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68552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019091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5487" y="3060001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>
              <a:solidFill>
                <a:schemeClr val="tx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475487" y="1620000"/>
            <a:ext cx="4500000" cy="115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7" y="230187"/>
            <a:ext cx="11048399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864" y="1620001"/>
            <a:ext cx="2304001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599"/>
              </a:spcAft>
              <a:defRPr sz="1201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7766357" y="1620001"/>
            <a:ext cx="2304001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599"/>
              </a:spcAft>
              <a:defRPr sz="1201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259864" y="1897200"/>
            <a:ext cx="2304001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US" sz="1201" b="0" baseline="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7766357" y="1897200"/>
            <a:ext cx="2304001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GB" sz="1201" b="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5" name="SlideLogoText">
            <a:extLst>
              <a:ext uri="{FF2B5EF4-FFF2-40B4-BE49-F238E27FC236}">
                <a16:creationId xmlns:a16="http://schemas.microsoft.com/office/drawing/2014/main" id="{EBF1D276-024C-CA4D-898B-7CDA62A58AB6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4773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200" y="230401"/>
            <a:ext cx="5794928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8" y="1620000"/>
            <a:ext cx="5794928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Picture Placeholder 35"/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475487" y="3060001"/>
            <a:ext cx="5540907" cy="299144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3515673 w 5004000"/>
              <a:gd name="connsiteY2" fmla="*/ 3326126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108817"/>
              <a:gd name="connsiteY0" fmla="*/ 0 h 3326485"/>
              <a:gd name="connsiteX1" fmla="*/ 5108817 w 5108817"/>
              <a:gd name="connsiteY1" fmla="*/ 0 h 3326485"/>
              <a:gd name="connsiteX2" fmla="*/ 3515673 w 5108817"/>
              <a:gd name="connsiteY2" fmla="*/ 3326126 h 3326485"/>
              <a:gd name="connsiteX3" fmla="*/ 0 w 5108817"/>
              <a:gd name="connsiteY3" fmla="*/ 3326485 h 3326485"/>
              <a:gd name="connsiteX4" fmla="*/ 0 w 5108817"/>
              <a:gd name="connsiteY4" fmla="*/ 0 h 332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8817" h="3326485">
                <a:moveTo>
                  <a:pt x="0" y="0"/>
                </a:moveTo>
                <a:lnTo>
                  <a:pt x="5108817" y="0"/>
                </a:lnTo>
                <a:lnTo>
                  <a:pt x="3515673" y="3326126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7685526" y="1616399"/>
            <a:ext cx="2505390" cy="4500000"/>
            <a:chOff x="7685525" y="1616399"/>
            <a:chExt cx="2505390" cy="450000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768552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10190915" y="1616399"/>
              <a:ext cx="0" cy="4500000"/>
            </a:xfrm>
            <a:prstGeom prst="line">
              <a:avLst/>
            </a:prstGeom>
            <a:ln w="635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Text Placeholder 2"/>
          <p:cNvSpPr>
            <a:spLocks noGrp="1"/>
          </p:cNvSpPr>
          <p:nvPr userDrawn="1">
            <p:ph type="body" sz="quarter" idx="26"/>
          </p:nvPr>
        </p:nvSpPr>
        <p:spPr>
          <a:xfrm>
            <a:off x="7766357" y="1584000"/>
            <a:ext cx="2304001" cy="450502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GB" sz="1201" b="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EC13C1BC-B34A-604F-81A9-D6C74994FAFB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6894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11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90" y="2962801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099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90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90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1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099" dirty="0"/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1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6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67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69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0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1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2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3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90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9" y="3430800"/>
            <a:ext cx="11043035" cy="0"/>
            <a:chOff x="475488" y="3430800"/>
            <a:chExt cx="11043035" cy="0"/>
          </a:xfrm>
        </p:grpSpPr>
        <p:sp>
          <p:nvSpPr>
            <p:cNvPr id="29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0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3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35" name="SlideLogoText">
            <a:extLst>
              <a:ext uri="{FF2B5EF4-FFF2-40B4-BE49-F238E27FC236}">
                <a16:creationId xmlns:a16="http://schemas.microsoft.com/office/drawing/2014/main" id="{26CD3D08-1ACA-934F-914D-22FA3E3ED89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7897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1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142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6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26" name="SlideLogoText">
            <a:extLst>
              <a:ext uri="{FF2B5EF4-FFF2-40B4-BE49-F238E27FC236}">
                <a16:creationId xmlns:a16="http://schemas.microsoft.com/office/drawing/2014/main" id="{D10624A2-FE1A-3D46-9AFA-788E0EF92134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1292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166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8" y="2019601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8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8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1006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2" y="1"/>
            <a:ext cx="6804001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2"/>
                </a:solidFill>
              </a:rPr>
              <a:pPr lvl="0"/>
              <a:t>‹#›</a:t>
            </a:fld>
            <a:endParaRPr lang="x-none" sz="800">
              <a:solidFill>
                <a:schemeClr val="tx2"/>
              </a:solidFill>
            </a:endParaRP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3295BB3B-6CB8-7149-827D-7EB023D0029B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5286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3015205" y="3060000"/>
            <a:ext cx="1968032" cy="3042286"/>
            <a:chOff x="3015205" y="3060000"/>
            <a:chExt cx="1968031" cy="3042286"/>
          </a:xfrm>
        </p:grpSpPr>
        <p:cxnSp>
          <p:nvCxnSpPr>
            <p:cNvPr id="21" name="Straight Connector 20"/>
            <p:cNvCxnSpPr/>
            <p:nvPr userDrawn="1"/>
          </p:nvCxnSpPr>
          <p:spPr>
            <a:xfrm flipH="1">
              <a:off x="3255478" y="3060000"/>
              <a:ext cx="1727758" cy="2996063"/>
            </a:xfrm>
            <a:prstGeom prst="line">
              <a:avLst/>
            </a:prstGeom>
            <a:ln w="158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Rectangle 3"/>
            <p:cNvSpPr/>
            <p:nvPr userDrawn="1"/>
          </p:nvSpPr>
          <p:spPr>
            <a:xfrm>
              <a:off x="3015205" y="6056567"/>
              <a:ext cx="335666" cy="457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" name="Group 1"/>
          <p:cNvGrpSpPr/>
          <p:nvPr userDrawn="1"/>
        </p:nvGrpSpPr>
        <p:grpSpPr>
          <a:xfrm>
            <a:off x="5177931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476248" y="3060001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1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1" y="230189"/>
            <a:ext cx="2952001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90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8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F7731F12-56A0-2048-8301-24A0D14DB56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1392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B Nerve Cell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8" y="900000"/>
            <a:ext cx="5794928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19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199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197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51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055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4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4910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57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197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4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055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77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4910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91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056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2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0911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3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199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4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056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95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0911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9627765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9627765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7"/>
          </p:nvPr>
        </p:nvSpPr>
        <p:spPr>
          <a:xfrm>
            <a:off x="8223768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8"/>
          </p:nvPr>
        </p:nvSpPr>
        <p:spPr>
          <a:xfrm>
            <a:off x="8223768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sp>
        <p:nvSpPr>
          <p:cNvPr id="23" name="SlideLogoText">
            <a:extLst>
              <a:ext uri="{FF2B5EF4-FFF2-40B4-BE49-F238E27FC236}">
                <a16:creationId xmlns:a16="http://schemas.microsoft.com/office/drawing/2014/main" id="{B4B6CACE-45B5-F449-B042-12F94E4A4F3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9826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i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1949291" cy="67214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200" y="1620001"/>
            <a:ext cx="7506000" cy="540000"/>
          </a:xfrm>
        </p:spPr>
        <p:txBody>
          <a:bodyPr tIns="3600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88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1879488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lnSpc>
                <a:spcPct val="100000"/>
              </a:lnSpc>
              <a:defRPr sz="800" b="0"/>
            </a:lvl1pPr>
          </a:lstStyle>
          <a:p>
            <a:endParaRPr lang="en-GB" dirty="0"/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4462344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19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7045201" y="244157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1879488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5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462344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7045201" y="3962289"/>
            <a:ext cx="936000" cy="936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 sz="800" b="0"/>
            </a:lvl1pPr>
          </a:lstStyle>
          <a:p>
            <a:endParaRPr lang="en-GB" dirty="0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058345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5641202" y="240557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475488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058345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34"/>
          </p:nvPr>
        </p:nvSpPr>
        <p:spPr>
          <a:xfrm>
            <a:off x="5641202" y="3926289"/>
            <a:ext cx="1367999" cy="1368000"/>
          </a:xfrm>
        </p:spPr>
        <p:txBody>
          <a:bodyPr tIns="18000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1099" b="0">
                <a:solidFill>
                  <a:schemeClr val="tx1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0037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2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906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1">
                <a:solidFill>
                  <a:srgbClr val="000000"/>
                </a:solidFill>
              </a:rPr>
              <a:t>WORKING DRAFT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76357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Last Modified 4/10/2019 6:21 PM India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0" y="609600"/>
            <a:ext cx="2532745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0" b="0">
                <a:solidFill>
                  <a:srgbClr val="000000"/>
                </a:solidFill>
              </a:rPr>
              <a:t>Printed 5/4/2017 11:06 AM Pacific Standard Time</a:t>
            </a:r>
            <a:endParaRPr lang="en-US" sz="900" b="0" dirty="0">
              <a:solidFill>
                <a:srgbClr val="000000"/>
              </a:solidFill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88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88" y="1619250"/>
            <a:ext cx="4632540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Thank you</a:t>
            </a:r>
            <a:endParaRPr lang="x-none" noProof="0" dirty="0"/>
          </a:p>
        </p:txBody>
      </p:sp>
      <p:sp>
        <p:nvSpPr>
          <p:cNvPr id="16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5112000"/>
            <a:ext cx="463320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400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10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0744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54000">
            <a:noAutofit/>
          </a:bodyPr>
          <a:lstStyle>
            <a:lvl1pPr>
              <a:defRPr sz="1000" b="0">
                <a:solidFill>
                  <a:schemeClr val="accent6"/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>
              <a:solidFill>
                <a:schemeClr val="tx1"/>
              </a:solidFill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3"/>
          <p:cNvSpPr>
            <a:spLocks noGrp="1"/>
          </p:cNvSpPr>
          <p:nvPr>
            <p:ph type="title"/>
          </p:nvPr>
        </p:nvSpPr>
        <p:spPr>
          <a:xfrm>
            <a:off x="475490" y="230400"/>
            <a:ext cx="8552423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199" y="1620000"/>
            <a:ext cx="8550841" cy="11520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2000" b="0" spc="-10" baseline="0">
                <a:solidFill>
                  <a:schemeClr val="accent6"/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30"/>
          </p:nvPr>
        </p:nvSpPr>
        <p:spPr>
          <a:xfrm>
            <a:off x="475198" y="3182939"/>
            <a:ext cx="8550000" cy="28797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5FCBA9B8-5039-1D40-8FFA-265E6BC7B033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946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4FBCD8-7C1E-C94E-8146-F78765AF83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744F52-DD31-C644-89AD-54277ECF78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4F4724-3E1A-734F-8392-029EB49F22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62F5D6-A855-F44C-90FE-FE8E00FD5C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4A096C-E02A-5145-A0CD-250889D8E3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D284C1-2E11-2346-BEA1-3549224650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04761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23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9" y="1619251"/>
            <a:ext cx="5304423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1637" y="1619251"/>
            <a:ext cx="5348287" cy="1615827"/>
          </a:xfrm>
        </p:spPr>
        <p:txBody>
          <a:bodyPr>
            <a:noAutofit/>
          </a:bodyPr>
          <a:lstStyle>
            <a:lvl2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11048399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FB4AE94D-190D-0A40-B644-B23C6368A90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62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3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1" y="907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827697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Last Modified 11/30/2018 6:36 PM India Standard Time</a:t>
            </a: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1" y="609599"/>
            <a:ext cx="365485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Printed</a:t>
            </a:r>
          </a:p>
        </p:txBody>
      </p:sp>
      <p:sp>
        <p:nvSpPr>
          <p:cNvPr id="14622" name="Disclaimer-English (United States)"/>
          <p:cNvSpPr>
            <a:spLocks noChangeArrowheads="1"/>
          </p:cNvSpPr>
          <p:nvPr userDrawn="1"/>
        </p:nvSpPr>
        <p:spPr bwMode="gray">
          <a:xfrm>
            <a:off x="475489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2" y="5281200"/>
            <a:ext cx="2817480" cy="38160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90" y="1619250"/>
            <a:ext cx="4632539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90" y="3373986"/>
            <a:ext cx="4632539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399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</p:spTree>
    <p:extLst>
      <p:ext uri="{BB962C8B-B14F-4D97-AF65-F5344CB8AC3E}">
        <p14:creationId xmlns:p14="http://schemas.microsoft.com/office/powerpoint/2010/main" val="902201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3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900" y="-1192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399" b="0"/>
            </a:lvl1pPr>
          </a:lstStyle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7964899" cy="6721475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827697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Last Modified 11/30/2018 6:36 PM India Standard Time</a:t>
            </a: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1" y="609599"/>
            <a:ext cx="365485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Printed</a:t>
            </a:r>
          </a:p>
        </p:txBody>
      </p:sp>
      <p:sp>
        <p:nvSpPr>
          <p:cNvPr id="37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475490" y="3373986"/>
            <a:ext cx="4632539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399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2" y="5281200"/>
            <a:ext cx="2817480" cy="381600"/>
          </a:xfrm>
          <a:prstGeom prst="rect">
            <a:avLst/>
          </a:prstGeom>
        </p:spPr>
      </p:pic>
      <p:sp>
        <p:nvSpPr>
          <p:cNvPr id="23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90" y="1619250"/>
            <a:ext cx="4632539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26" name="Straight Connector 25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isclaimer-English (United States)"/>
          <p:cNvSpPr>
            <a:spLocks noChangeArrowheads="1"/>
          </p:cNvSpPr>
          <p:nvPr userDrawn="1"/>
        </p:nvSpPr>
        <p:spPr bwMode="gray">
          <a:xfrm>
            <a:off x="475489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352598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3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Picture Placeholder 30"/>
          <p:cNvSpPr>
            <a:spLocks noGrp="1"/>
          </p:cNvSpPr>
          <p:nvPr>
            <p:ph type="pic" sz="quarter" idx="10"/>
          </p:nvPr>
        </p:nvSpPr>
        <p:spPr bwMode="gray">
          <a:xfrm>
            <a:off x="6030900" y="-1192"/>
            <a:ext cx="5961163" cy="6738938"/>
          </a:xfrm>
          <a:custGeom>
            <a:avLst/>
            <a:gdLst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8527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0" fmla="*/ 1951678 w 6292479"/>
              <a:gd name="connsiteY0" fmla="*/ 0 h 6721475"/>
              <a:gd name="connsiteX1" fmla="*/ 6292479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6292479"/>
              <a:gd name="connsiteY0" fmla="*/ 0 h 6721475"/>
              <a:gd name="connsiteX1" fmla="*/ 5937540 w 6292479"/>
              <a:gd name="connsiteY1" fmla="*/ 0 h 6721475"/>
              <a:gd name="connsiteX2" fmla="*/ 6292479 w 6292479"/>
              <a:gd name="connsiteY2" fmla="*/ 6721475 h 6721475"/>
              <a:gd name="connsiteX3" fmla="*/ 1945165 w 6292479"/>
              <a:gd name="connsiteY3" fmla="*/ 6721475 h 6721475"/>
              <a:gd name="connsiteX4" fmla="*/ 0 w 6292479"/>
              <a:gd name="connsiteY4" fmla="*/ 3361055 h 6721475"/>
              <a:gd name="connsiteX5" fmla="*/ 1886613 w 6292479"/>
              <a:gd name="connsiteY5" fmla="*/ 107413 h 6721475"/>
              <a:gd name="connsiteX6" fmla="*/ 1886987 w 6292479"/>
              <a:gd name="connsiteY6" fmla="*/ 107413 h 6721475"/>
              <a:gd name="connsiteX7" fmla="*/ 1951678 w 6292479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886987 w 5950217"/>
              <a:gd name="connsiteY6" fmla="*/ 107413 h 6721475"/>
              <a:gd name="connsiteX7" fmla="*/ 1951678 w 5950217"/>
              <a:gd name="connsiteY7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886613 w 5950217"/>
              <a:gd name="connsiteY5" fmla="*/ 107413 h 6721475"/>
              <a:gd name="connsiteX6" fmla="*/ 1951678 w 5950217"/>
              <a:gd name="connsiteY6" fmla="*/ 0 h 6721475"/>
              <a:gd name="connsiteX0" fmla="*/ 1951678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51678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516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23690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32664 w 5950217"/>
              <a:gd name="connsiteY0" fmla="*/ 0 h 6721475"/>
              <a:gd name="connsiteX1" fmla="*/ 5937540 w 5950217"/>
              <a:gd name="connsiteY1" fmla="*/ 0 h 6721475"/>
              <a:gd name="connsiteX2" fmla="*/ 5950217 w 5950217"/>
              <a:gd name="connsiteY2" fmla="*/ 6721475 h 6721475"/>
              <a:gd name="connsiteX3" fmla="*/ 1942705 w 5950217"/>
              <a:gd name="connsiteY3" fmla="*/ 6721475 h 6721475"/>
              <a:gd name="connsiteX4" fmla="*/ 0 w 5950217"/>
              <a:gd name="connsiteY4" fmla="*/ 3361055 h 6721475"/>
              <a:gd name="connsiteX5" fmla="*/ 1932664 w 5950217"/>
              <a:gd name="connsiteY5" fmla="*/ 0 h 6721475"/>
              <a:gd name="connsiteX0" fmla="*/ 1919988 w 5937541"/>
              <a:gd name="connsiteY0" fmla="*/ 0 h 6721475"/>
              <a:gd name="connsiteX1" fmla="*/ 5924864 w 5937541"/>
              <a:gd name="connsiteY1" fmla="*/ 0 h 6721475"/>
              <a:gd name="connsiteX2" fmla="*/ 5937541 w 5937541"/>
              <a:gd name="connsiteY2" fmla="*/ 6721475 h 6721475"/>
              <a:gd name="connsiteX3" fmla="*/ 1930029 w 5937541"/>
              <a:gd name="connsiteY3" fmla="*/ 6721475 h 6721475"/>
              <a:gd name="connsiteX4" fmla="*/ 0 w 5937541"/>
              <a:gd name="connsiteY4" fmla="*/ 3351530 h 6721475"/>
              <a:gd name="connsiteX5" fmla="*/ 1919988 w 5937541"/>
              <a:gd name="connsiteY5" fmla="*/ 0 h 6721475"/>
              <a:gd name="connsiteX0" fmla="*/ 1913650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13650 w 5931203"/>
              <a:gd name="connsiteY5" fmla="*/ 0 h 6721475"/>
              <a:gd name="connsiteX0" fmla="*/ 1923157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3157 w 5931203"/>
              <a:gd name="connsiteY5" fmla="*/ 0 h 6721475"/>
              <a:gd name="connsiteX0" fmla="*/ 1932665 w 5931203"/>
              <a:gd name="connsiteY0" fmla="*/ 0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2665 w 5931203"/>
              <a:gd name="connsiteY5" fmla="*/ 0 h 6721475"/>
              <a:gd name="connsiteX0" fmla="*/ 1951679 w 5931203"/>
              <a:gd name="connsiteY0" fmla="*/ 4763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51679 w 5931203"/>
              <a:gd name="connsiteY5" fmla="*/ 4763 h 6721475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70693 w 5931203"/>
              <a:gd name="connsiteY0" fmla="*/ 0 h 6735763"/>
              <a:gd name="connsiteX1" fmla="*/ 5918526 w 5931203"/>
              <a:gd name="connsiteY1" fmla="*/ 14288 h 6735763"/>
              <a:gd name="connsiteX2" fmla="*/ 5931203 w 5931203"/>
              <a:gd name="connsiteY2" fmla="*/ 6735763 h 6735763"/>
              <a:gd name="connsiteX3" fmla="*/ 1923691 w 5931203"/>
              <a:gd name="connsiteY3" fmla="*/ 6735763 h 6735763"/>
              <a:gd name="connsiteX4" fmla="*/ 0 w 5931203"/>
              <a:gd name="connsiteY4" fmla="*/ 3368993 h 6735763"/>
              <a:gd name="connsiteX5" fmla="*/ 1970693 w 5931203"/>
              <a:gd name="connsiteY5" fmla="*/ 0 h 6735763"/>
              <a:gd name="connsiteX0" fmla="*/ 1927911 w 5931203"/>
              <a:gd name="connsiteY0" fmla="*/ 9525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9525 h 6721475"/>
              <a:gd name="connsiteX0" fmla="*/ 1937418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37418 w 5931203"/>
              <a:gd name="connsiteY5" fmla="*/ 4762 h 6721475"/>
              <a:gd name="connsiteX0" fmla="*/ 1927911 w 5931203"/>
              <a:gd name="connsiteY0" fmla="*/ 4762 h 6721475"/>
              <a:gd name="connsiteX1" fmla="*/ 5918526 w 5931203"/>
              <a:gd name="connsiteY1" fmla="*/ 0 h 6721475"/>
              <a:gd name="connsiteX2" fmla="*/ 5931203 w 5931203"/>
              <a:gd name="connsiteY2" fmla="*/ 6721475 h 6721475"/>
              <a:gd name="connsiteX3" fmla="*/ 1923691 w 5931203"/>
              <a:gd name="connsiteY3" fmla="*/ 6721475 h 6721475"/>
              <a:gd name="connsiteX4" fmla="*/ 0 w 5931203"/>
              <a:gd name="connsiteY4" fmla="*/ 3354705 h 6721475"/>
              <a:gd name="connsiteX5" fmla="*/ 1927911 w 5931203"/>
              <a:gd name="connsiteY5" fmla="*/ 4762 h 6721475"/>
              <a:gd name="connsiteX0" fmla="*/ 1836007 w 5839299"/>
              <a:gd name="connsiteY0" fmla="*/ 4762 h 6721475"/>
              <a:gd name="connsiteX1" fmla="*/ 5826622 w 5839299"/>
              <a:gd name="connsiteY1" fmla="*/ 0 h 6721475"/>
              <a:gd name="connsiteX2" fmla="*/ 5839299 w 5839299"/>
              <a:gd name="connsiteY2" fmla="*/ 6721475 h 6721475"/>
              <a:gd name="connsiteX3" fmla="*/ 1831787 w 5839299"/>
              <a:gd name="connsiteY3" fmla="*/ 6721475 h 6721475"/>
              <a:gd name="connsiteX4" fmla="*/ 0 w 5839299"/>
              <a:gd name="connsiteY4" fmla="*/ 3361055 h 6721475"/>
              <a:gd name="connsiteX5" fmla="*/ 1836007 w 5839299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26860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1080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1080 w 5934372"/>
              <a:gd name="connsiteY5" fmla="*/ 4762 h 6721475"/>
              <a:gd name="connsiteX0" fmla="*/ 1934249 w 5934372"/>
              <a:gd name="connsiteY0" fmla="*/ 4762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4762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4249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4249 w 5934372"/>
              <a:gd name="connsiteY5" fmla="*/ 1587 h 6721475"/>
              <a:gd name="connsiteX0" fmla="*/ 1937418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37418 w 5934372"/>
              <a:gd name="connsiteY5" fmla="*/ 1587 h 6721475"/>
              <a:gd name="connsiteX0" fmla="*/ 1927911 w 5934372"/>
              <a:gd name="connsiteY0" fmla="*/ 1587 h 6721475"/>
              <a:gd name="connsiteX1" fmla="*/ 5921695 w 5934372"/>
              <a:gd name="connsiteY1" fmla="*/ 0 h 6721475"/>
              <a:gd name="connsiteX2" fmla="*/ 5934372 w 5934372"/>
              <a:gd name="connsiteY2" fmla="*/ 6721475 h 6721475"/>
              <a:gd name="connsiteX3" fmla="*/ 1936368 w 5934372"/>
              <a:gd name="connsiteY3" fmla="*/ 6721475 h 6721475"/>
              <a:gd name="connsiteX4" fmla="*/ 0 w 5934372"/>
              <a:gd name="connsiteY4" fmla="*/ 3361055 h 6721475"/>
              <a:gd name="connsiteX5" fmla="*/ 1927911 w 5934372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46541 h 6721475"/>
              <a:gd name="connsiteX5" fmla="*/ 1913424 w 5919885"/>
              <a:gd name="connsiteY5" fmla="*/ 1587 h 6721475"/>
              <a:gd name="connsiteX0" fmla="*/ 1913424 w 5919885"/>
              <a:gd name="connsiteY0" fmla="*/ 1587 h 6721475"/>
              <a:gd name="connsiteX1" fmla="*/ 5907208 w 5919885"/>
              <a:gd name="connsiteY1" fmla="*/ 0 h 6721475"/>
              <a:gd name="connsiteX2" fmla="*/ 5919885 w 5919885"/>
              <a:gd name="connsiteY2" fmla="*/ 6721475 h 6721475"/>
              <a:gd name="connsiteX3" fmla="*/ 1921881 w 5919885"/>
              <a:gd name="connsiteY3" fmla="*/ 6721475 h 6721475"/>
              <a:gd name="connsiteX4" fmla="*/ 0 w 5919885"/>
              <a:gd name="connsiteY4" fmla="*/ 3317512 h 6721475"/>
              <a:gd name="connsiteX5" fmla="*/ 1913424 w 5919885"/>
              <a:gd name="connsiteY5" fmla="*/ 1587 h 6721475"/>
              <a:gd name="connsiteX0" fmla="*/ 1942399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42399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50856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61593 w 5948860"/>
              <a:gd name="connsiteY3" fmla="*/ 6721475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17512 h 6721475"/>
              <a:gd name="connsiteX5" fmla="*/ 1927912 w 5948860"/>
              <a:gd name="connsiteY5" fmla="*/ 1587 h 6721475"/>
              <a:gd name="connsiteX0" fmla="*/ 1927912 w 5948860"/>
              <a:gd name="connsiteY0" fmla="*/ 1587 h 6721475"/>
              <a:gd name="connsiteX1" fmla="*/ 5936183 w 5948860"/>
              <a:gd name="connsiteY1" fmla="*/ 0 h 6721475"/>
              <a:gd name="connsiteX2" fmla="*/ 5948860 w 5948860"/>
              <a:gd name="connsiteY2" fmla="*/ 6721475 h 6721475"/>
              <a:gd name="connsiteX3" fmla="*/ 1929380 w 5948860"/>
              <a:gd name="connsiteY3" fmla="*/ 6710717 h 6721475"/>
              <a:gd name="connsiteX4" fmla="*/ 0 w 5948860"/>
              <a:gd name="connsiteY4" fmla="*/ 3339027 h 6721475"/>
              <a:gd name="connsiteX5" fmla="*/ 1927912 w 5948860"/>
              <a:gd name="connsiteY5" fmla="*/ 1587 h 6721475"/>
              <a:gd name="connsiteX0" fmla="*/ 1927913 w 5948860"/>
              <a:gd name="connsiteY0" fmla="*/ 0 h 6732588"/>
              <a:gd name="connsiteX1" fmla="*/ 5936183 w 5948860"/>
              <a:gd name="connsiteY1" fmla="*/ 11113 h 6732588"/>
              <a:gd name="connsiteX2" fmla="*/ 5948860 w 5948860"/>
              <a:gd name="connsiteY2" fmla="*/ 6732588 h 6732588"/>
              <a:gd name="connsiteX3" fmla="*/ 1929380 w 5948860"/>
              <a:gd name="connsiteY3" fmla="*/ 6721830 h 6732588"/>
              <a:gd name="connsiteX4" fmla="*/ 0 w 5948860"/>
              <a:gd name="connsiteY4" fmla="*/ 3350140 h 6732588"/>
              <a:gd name="connsiteX5" fmla="*/ 1927913 w 5948860"/>
              <a:gd name="connsiteY5" fmla="*/ 0 h 6732588"/>
              <a:gd name="connsiteX0" fmla="*/ 1927913 w 5950079"/>
              <a:gd name="connsiteY0" fmla="*/ 0 h 6732588"/>
              <a:gd name="connsiteX1" fmla="*/ 5948860 w 5950079"/>
              <a:gd name="connsiteY1" fmla="*/ 11113 h 6732588"/>
              <a:gd name="connsiteX2" fmla="*/ 5948860 w 5950079"/>
              <a:gd name="connsiteY2" fmla="*/ 6732588 h 6732588"/>
              <a:gd name="connsiteX3" fmla="*/ 1929380 w 5950079"/>
              <a:gd name="connsiteY3" fmla="*/ 6721830 h 6732588"/>
              <a:gd name="connsiteX4" fmla="*/ 0 w 5950079"/>
              <a:gd name="connsiteY4" fmla="*/ 3350140 h 6732588"/>
              <a:gd name="connsiteX5" fmla="*/ 1927913 w 5950079"/>
              <a:gd name="connsiteY5" fmla="*/ 0 h 6732588"/>
              <a:gd name="connsiteX0" fmla="*/ 1927913 w 5950079"/>
              <a:gd name="connsiteY0" fmla="*/ 1587 h 6734175"/>
              <a:gd name="connsiteX1" fmla="*/ 5948860 w 5950079"/>
              <a:gd name="connsiteY1" fmla="*/ 0 h 6734175"/>
              <a:gd name="connsiteX2" fmla="*/ 5948860 w 5950079"/>
              <a:gd name="connsiteY2" fmla="*/ 6734175 h 6734175"/>
              <a:gd name="connsiteX3" fmla="*/ 1929380 w 5950079"/>
              <a:gd name="connsiteY3" fmla="*/ 6723417 h 6734175"/>
              <a:gd name="connsiteX4" fmla="*/ 0 w 5950079"/>
              <a:gd name="connsiteY4" fmla="*/ 3351727 h 6734175"/>
              <a:gd name="connsiteX5" fmla="*/ 1927913 w 5950079"/>
              <a:gd name="connsiteY5" fmla="*/ 1587 h 6734175"/>
              <a:gd name="connsiteX0" fmla="*/ 1931082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31082 w 5950079"/>
              <a:gd name="connsiteY5" fmla="*/ 0 h 6738938"/>
              <a:gd name="connsiteX0" fmla="*/ 1927913 w 5950079"/>
              <a:gd name="connsiteY0" fmla="*/ 0 h 6738938"/>
              <a:gd name="connsiteX1" fmla="*/ 5948860 w 5950079"/>
              <a:gd name="connsiteY1" fmla="*/ 4763 h 6738938"/>
              <a:gd name="connsiteX2" fmla="*/ 5948860 w 5950079"/>
              <a:gd name="connsiteY2" fmla="*/ 6738938 h 6738938"/>
              <a:gd name="connsiteX3" fmla="*/ 1929380 w 5950079"/>
              <a:gd name="connsiteY3" fmla="*/ 6728180 h 6738938"/>
              <a:gd name="connsiteX4" fmla="*/ 0 w 5950079"/>
              <a:gd name="connsiteY4" fmla="*/ 3356490 h 6738938"/>
              <a:gd name="connsiteX5" fmla="*/ 1927913 w 5950079"/>
              <a:gd name="connsiteY5" fmla="*/ 0 h 67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0079" h="6738938">
                <a:moveTo>
                  <a:pt x="1927913" y="0"/>
                </a:moveTo>
                <a:lnTo>
                  <a:pt x="5948860" y="4763"/>
                </a:lnTo>
                <a:cubicBezTo>
                  <a:pt x="5953086" y="2245255"/>
                  <a:pt x="5944634" y="4498446"/>
                  <a:pt x="5948860" y="6738938"/>
                </a:cubicBezTo>
                <a:lnTo>
                  <a:pt x="1929380" y="6728180"/>
                </a:lnTo>
                <a:lnTo>
                  <a:pt x="0" y="3356490"/>
                </a:lnTo>
                <a:lnTo>
                  <a:pt x="1927913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1399" b="0"/>
            </a:lvl1pPr>
          </a:lstStyle>
          <a:p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2033"/>
            <a:ext cx="8035961" cy="6719442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gray">
          <a:xfrm>
            <a:off x="11259052" y="36515"/>
            <a:ext cx="39371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1066" baseline="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827697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Last Modified 11/30/2018 6:36 PM India Standard Time</a:t>
            </a: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1" y="609599"/>
            <a:ext cx="365485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Printed</a:t>
            </a:r>
          </a:p>
        </p:txBody>
      </p:sp>
      <p:sp>
        <p:nvSpPr>
          <p:cNvPr id="13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90" y="3373986"/>
            <a:ext cx="4632539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399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2" y="5281200"/>
            <a:ext cx="2817480" cy="381600"/>
          </a:xfrm>
          <a:prstGeom prst="rect">
            <a:avLst/>
          </a:prstGeom>
        </p:spPr>
      </p:pic>
      <p:sp>
        <p:nvSpPr>
          <p:cNvPr id="16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90" y="1619250"/>
            <a:ext cx="4632539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  <a:endParaRPr lang="x-none" noProof="0" dirty="0"/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isclaimer-English (United States)"/>
          <p:cNvSpPr>
            <a:spLocks noChangeArrowheads="1"/>
          </p:cNvSpPr>
          <p:nvPr userDrawn="1"/>
        </p:nvSpPr>
        <p:spPr bwMode="gray">
          <a:xfrm>
            <a:off x="475489" y="6062472"/>
            <a:ext cx="3017012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800" dirty="0">
                <a:solidFill>
                  <a:schemeClr val="accent6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4194610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1949111" cy="672137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5200" y="1620001"/>
            <a:ext cx="6300000" cy="1800000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GB" sz="3600" b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latin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359837" algn="l"/>
              </a:tabLst>
            </a:pPr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61113" y="4057475"/>
            <a:ext cx="3888001" cy="2664000"/>
          </a:xfrm>
        </p:spPr>
        <p:txBody>
          <a:bodyPr rIns="180000" bIns="360000" anchor="ctr" anchorCtr="0"/>
          <a:lstStyle>
            <a:lvl1pPr algn="r">
              <a:defRPr sz="19999" b="0" spc="-50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4030175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3368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406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8" y="1619251"/>
            <a:ext cx="9119362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F5940679-7E0D-0D43-89D5-46B4B18186C7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8085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43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9" y="1619251"/>
            <a:ext cx="5304423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1637" y="1619251"/>
            <a:ext cx="5348287" cy="1615827"/>
          </a:xfrm>
        </p:spPr>
        <p:txBody>
          <a:bodyPr>
            <a:noAutofit/>
          </a:bodyPr>
          <a:lstStyle>
            <a:lvl2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3pPr>
            <a:lvl4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4pPr>
            <a:lvl5pPr>
              <a:buClr>
                <a:schemeClr val="accent6">
                  <a:lumMod val="60000"/>
                  <a:lumOff val="40000"/>
                </a:schemeClr>
              </a:buCl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75489" y="230189"/>
            <a:ext cx="11048399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FB4AE94D-190D-0A40-B644-B23C6368A90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1441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7 </a:t>
            </a:r>
            <a:r>
              <a:rPr lang="en-GB" sz="800" kern="1200" baseline="0" dirty="0" err="1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3919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lide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454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60" name="Title Placeholder 3"/>
          <p:cNvSpPr>
            <a:spLocks noGrp="1"/>
          </p:cNvSpPr>
          <p:nvPr>
            <p:ph type="title"/>
          </p:nvPr>
        </p:nvSpPr>
        <p:spPr>
          <a:xfrm>
            <a:off x="475490" y="230189"/>
            <a:ext cx="5480811" cy="1108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LogoText">
            <a:extLst>
              <a:ext uri="{FF2B5EF4-FFF2-40B4-BE49-F238E27FC236}">
                <a16:creationId xmlns:a16="http://schemas.microsoft.com/office/drawing/2014/main" id="{EE0DBF6B-2081-E64B-823E-C9ABEA56370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3669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80927" y="1657020"/>
            <a:ext cx="5009989" cy="4500000"/>
            <a:chOff x="5180927" y="1657020"/>
            <a:chExt cx="5009988" cy="4500000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5180927" y="1657020"/>
              <a:ext cx="0" cy="4500000"/>
            </a:xfrm>
            <a:prstGeom prst="line">
              <a:avLst/>
            </a:prstGeom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685525" y="1657020"/>
              <a:ext cx="0" cy="4500000"/>
            </a:xfrm>
            <a:prstGeom prst="line">
              <a:avLst/>
            </a:prstGeom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0190915" y="1657020"/>
              <a:ext cx="0" cy="4500000"/>
            </a:xfrm>
            <a:prstGeom prst="line">
              <a:avLst/>
            </a:prstGeom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5487" y="3060001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0" bIns="0" anchor="ctr" anchorCtr="0">
            <a:noAutofit/>
          </a:bodyPr>
          <a:lstStyle>
            <a:lvl1pPr algn="l">
              <a:defRPr sz="1399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475487" y="1620000"/>
            <a:ext cx="4500000" cy="115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7" y="230187"/>
            <a:ext cx="11048399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22"/>
          </p:nvPr>
        </p:nvSpPr>
        <p:spPr>
          <a:xfrm>
            <a:off x="5259864" y="1620001"/>
            <a:ext cx="2304001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599"/>
              </a:spcAft>
              <a:defRPr sz="1201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23"/>
          </p:nvPr>
        </p:nvSpPr>
        <p:spPr>
          <a:xfrm>
            <a:off x="7766357" y="1620001"/>
            <a:ext cx="2304001" cy="192360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599"/>
              </a:spcAft>
              <a:defRPr sz="1201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259864" y="1897200"/>
            <a:ext cx="2304001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US" sz="1201" b="0" baseline="0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8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7766357" y="1897200"/>
            <a:ext cx="2304001" cy="42242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lang="en-GB" sz="1201" b="0" baseline="0" dirty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5" name="SlideLogoText">
            <a:extLst>
              <a:ext uri="{FF2B5EF4-FFF2-40B4-BE49-F238E27FC236}">
                <a16:creationId xmlns:a16="http://schemas.microsoft.com/office/drawing/2014/main" id="{EB57879A-BE8A-1B44-943E-8983ABACD59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8411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Bios Blac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47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5490" y="2962801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099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490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490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07947" y="2962801"/>
            <a:ext cx="2113200" cy="169277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1099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079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079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6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94040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17286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4010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079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9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5490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75489" y="3430800"/>
            <a:ext cx="11043035" cy="0"/>
            <a:chOff x="475488" y="3430800"/>
            <a:chExt cx="11043035" cy="0"/>
          </a:xfrm>
        </p:grpSpPr>
        <p:sp>
          <p:nvSpPr>
            <p:cNvPr id="28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1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2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3" name="object 4"/>
            <p:cNvSpPr/>
            <p:nvPr userDrawn="1"/>
          </p:nvSpPr>
          <p:spPr>
            <a:xfrm>
              <a:off x="475488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54" name="object 7"/>
            <p:cNvSpPr/>
            <p:nvPr userDrawn="1"/>
          </p:nvSpPr>
          <p:spPr>
            <a:xfrm>
              <a:off x="2707947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  <p:sp>
        <p:nvSpPr>
          <p:cNvPr id="50" name="SlideLogoText">
            <a:extLst>
              <a:ext uri="{FF2B5EF4-FFF2-40B4-BE49-F238E27FC236}">
                <a16:creationId xmlns:a16="http://schemas.microsoft.com/office/drawing/2014/main" id="{64F1A015-CAAC-FB4A-A671-69F2B7684B64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470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ios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592"/>
          <a:stretch/>
        </p:blipFill>
        <p:spPr>
          <a:xfrm>
            <a:off x="0" y="1"/>
            <a:ext cx="4111488" cy="67214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502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8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94040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94040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94040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172866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172866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172866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401047" y="2962801"/>
            <a:ext cx="2113200" cy="169277"/>
          </a:xfrm>
        </p:spPr>
        <p:txBody>
          <a:bodyPr wrap="square">
            <a:noAutofit/>
          </a:bodyPr>
          <a:lstStyle>
            <a:lvl1pPr>
              <a:defRPr sz="1099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401047" y="1619250"/>
            <a:ext cx="2113200" cy="1224000"/>
          </a:xfrm>
        </p:spPr>
        <p:txBody>
          <a:bodyPr anchor="ctr" anchorCtr="0">
            <a:noAutofit/>
          </a:bodyPr>
          <a:lstStyle>
            <a:lvl1pPr algn="ctr">
              <a:defRPr sz="1201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401047" y="3434676"/>
            <a:ext cx="2113200" cy="2520000"/>
          </a:xfrm>
        </p:spPr>
        <p:txBody>
          <a:bodyPr tIns="36000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94040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7172866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1047" y="3142776"/>
            <a:ext cx="2113200" cy="153888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940406" y="3430800"/>
            <a:ext cx="6578117" cy="0"/>
            <a:chOff x="4940406" y="3430800"/>
            <a:chExt cx="6578117" cy="0"/>
          </a:xfrm>
        </p:grpSpPr>
        <p:sp>
          <p:nvSpPr>
            <p:cNvPr id="23" name="object 4"/>
            <p:cNvSpPr/>
            <p:nvPr userDrawn="1"/>
          </p:nvSpPr>
          <p:spPr>
            <a:xfrm>
              <a:off x="7172865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9405323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  <p:sp>
          <p:nvSpPr>
            <p:cNvPr id="25" name="bk object 16"/>
            <p:cNvSpPr/>
            <p:nvPr userDrawn="1"/>
          </p:nvSpPr>
          <p:spPr>
            <a:xfrm>
              <a:off x="4940406" y="3430800"/>
              <a:ext cx="2113200" cy="0"/>
            </a:xfrm>
            <a:custGeom>
              <a:avLst/>
              <a:gdLst/>
              <a:ahLst/>
              <a:cxnLst/>
              <a:rect l="l" t="t" r="r" b="b"/>
              <a:pathLst>
                <a:path w="2408554">
                  <a:moveTo>
                    <a:pt x="0" y="0"/>
                  </a:moveTo>
                  <a:lnTo>
                    <a:pt x="2407996" y="0"/>
                  </a:lnTo>
                </a:path>
              </a:pathLst>
            </a:custGeom>
            <a:ln w="635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568" dirty="0"/>
            </a:p>
          </p:txBody>
        </p:sp>
      </p:grpSp>
    </p:spTree>
    <p:extLst>
      <p:ext uri="{BB962C8B-B14F-4D97-AF65-F5344CB8AC3E}">
        <p14:creationId xmlns:p14="http://schemas.microsoft.com/office/powerpoint/2010/main" val="218854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526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6248" y="2019601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9" name="Title Placeholder 3"/>
          <p:cNvSpPr>
            <a:spLocks noGrp="1"/>
          </p:cNvSpPr>
          <p:nvPr userDrawn="1">
            <p:ph type="title" hasCustomPrompt="1"/>
          </p:nvPr>
        </p:nvSpPr>
        <p:spPr>
          <a:xfrm>
            <a:off x="475488" y="1620000"/>
            <a:ext cx="4500000" cy="39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76248" y="2916000"/>
            <a:ext cx="4140000" cy="306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1006" y="0"/>
            <a:ext cx="1816608" cy="1636776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 bwMode="gray">
          <a:xfrm>
            <a:off x="5145112" y="1"/>
            <a:ext cx="6804001" cy="6721475"/>
          </a:xfrm>
          <a:custGeom>
            <a:avLst/>
            <a:gdLst>
              <a:gd name="connsiteX0" fmla="*/ 0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0 w 6804000"/>
              <a:gd name="connsiteY4" fmla="*/ 0 h 6721475"/>
              <a:gd name="connsiteX0" fmla="*/ 3712464 w 6804000"/>
              <a:gd name="connsiteY0" fmla="*/ 0 h 6721475"/>
              <a:gd name="connsiteX1" fmla="*/ 6804000 w 6804000"/>
              <a:gd name="connsiteY1" fmla="*/ 0 h 6721475"/>
              <a:gd name="connsiteX2" fmla="*/ 6804000 w 6804000"/>
              <a:gd name="connsiteY2" fmla="*/ 6721475 h 6721475"/>
              <a:gd name="connsiteX3" fmla="*/ 0 w 6804000"/>
              <a:gd name="connsiteY3" fmla="*/ 6721475 h 6721475"/>
              <a:gd name="connsiteX4" fmla="*/ 3712464 w 6804000"/>
              <a:gd name="connsiteY4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4000" h="6721475">
                <a:moveTo>
                  <a:pt x="3712464" y="0"/>
                </a:moveTo>
                <a:lnTo>
                  <a:pt x="6804000" y="0"/>
                </a:lnTo>
                <a:lnTo>
                  <a:pt x="6804000" y="6721475"/>
                </a:lnTo>
                <a:lnTo>
                  <a:pt x="0" y="6721475"/>
                </a:lnTo>
                <a:lnTo>
                  <a:pt x="3712464" y="0"/>
                </a:lnTo>
                <a:close/>
              </a:path>
            </a:pathLst>
          </a:custGeom>
          <a:noFill/>
        </p:spPr>
        <p:txBody>
          <a:bodyPr anchor="ctr" anchorCtr="0">
            <a:noAutofit/>
          </a:bodyPr>
          <a:lstStyle>
            <a:lvl1pPr algn="ctr">
              <a:defRPr b="0"/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DE30B380-CB58-D949-9C8D-B641504D6069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423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5177931" y="306000"/>
            <a:ext cx="3306592" cy="5760000"/>
            <a:chOff x="5177930" y="306000"/>
            <a:chExt cx="3306592" cy="57600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5177930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8484522" y="306000"/>
              <a:ext cx="0" cy="5760000"/>
            </a:xfrm>
            <a:prstGeom prst="line">
              <a:avLst/>
            </a:prstGeom>
            <a:ln w="127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 noChangeAspect="1"/>
          </p:cNvSpPr>
          <p:nvPr userDrawn="1">
            <p:ph type="pic" sz="quarter" idx="14"/>
          </p:nvPr>
        </p:nvSpPr>
        <p:spPr bwMode="gray">
          <a:xfrm>
            <a:off x="476248" y="3060001"/>
            <a:ext cx="4500000" cy="2996063"/>
          </a:xfrm>
          <a:custGeom>
            <a:avLst/>
            <a:gdLst>
              <a:gd name="connsiteX0" fmla="*/ 0 w 5004000"/>
              <a:gd name="connsiteY0" fmla="*/ 0 h 3326485"/>
              <a:gd name="connsiteX1" fmla="*/ 5004000 w 5004000"/>
              <a:gd name="connsiteY1" fmla="*/ 0 h 3326485"/>
              <a:gd name="connsiteX2" fmla="*/ 5004000 w 5004000"/>
              <a:gd name="connsiteY2" fmla="*/ 3326485 h 3326485"/>
              <a:gd name="connsiteX3" fmla="*/ 0 w 5004000"/>
              <a:gd name="connsiteY3" fmla="*/ 3326485 h 3326485"/>
              <a:gd name="connsiteX4" fmla="*/ 0 w 5004000"/>
              <a:gd name="connsiteY4" fmla="*/ 0 h 3326485"/>
              <a:gd name="connsiteX0" fmla="*/ 0 w 5004000"/>
              <a:gd name="connsiteY0" fmla="*/ 0 h 3331622"/>
              <a:gd name="connsiteX1" fmla="*/ 5004000 w 5004000"/>
              <a:gd name="connsiteY1" fmla="*/ 0 h 3331622"/>
              <a:gd name="connsiteX2" fmla="*/ 3082733 w 5004000"/>
              <a:gd name="connsiteY2" fmla="*/ 3331622 h 3331622"/>
              <a:gd name="connsiteX3" fmla="*/ 0 w 5004000"/>
              <a:gd name="connsiteY3" fmla="*/ 3326485 h 3331622"/>
              <a:gd name="connsiteX4" fmla="*/ 0 w 5004000"/>
              <a:gd name="connsiteY4" fmla="*/ 0 h 3331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000" h="3331622">
                <a:moveTo>
                  <a:pt x="0" y="0"/>
                </a:moveTo>
                <a:lnTo>
                  <a:pt x="5004000" y="0"/>
                </a:lnTo>
                <a:lnTo>
                  <a:pt x="3082733" y="3331622"/>
                </a:lnTo>
                <a:lnTo>
                  <a:pt x="0" y="332648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72000" bIns="36000" anchor="ctr" anchorCtr="0">
            <a:noAutofit/>
          </a:bodyPr>
          <a:lstStyle>
            <a:lvl1pPr algn="l">
              <a:defRPr sz="1399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2"/>
          </p:nvPr>
        </p:nvSpPr>
        <p:spPr>
          <a:xfrm>
            <a:off x="5259600" y="230189"/>
            <a:ext cx="2952001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23"/>
          </p:nvPr>
        </p:nvSpPr>
        <p:spPr>
          <a:xfrm>
            <a:off x="8568001" y="230189"/>
            <a:ext cx="2952001" cy="5832000"/>
          </a:xfrm>
        </p:spPr>
        <p:txBody>
          <a:bodyPr tIns="54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defRPr sz="1099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cxnSp>
        <p:nvCxnSpPr>
          <p:cNvPr id="5" name="Straight Connector 4"/>
          <p:cNvCxnSpPr/>
          <p:nvPr userDrawn="1"/>
        </p:nvCxnSpPr>
        <p:spPr>
          <a:xfrm flipH="1">
            <a:off x="3254401" y="3060001"/>
            <a:ext cx="1727758" cy="299606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490" y="230189"/>
            <a:ext cx="4500761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Nam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6248" y="635429"/>
            <a:ext cx="4500000" cy="57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800" b="0" spc="-1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buClr>
                <a:schemeClr val="accent6"/>
              </a:buClr>
              <a:defRPr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Job Title</a:t>
            </a: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1F029867-AFBC-5345-9201-99F30C53DA7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7855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5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5" name="SlideLogoText">
            <a:extLst>
              <a:ext uri="{FF2B5EF4-FFF2-40B4-BE49-F238E27FC236}">
                <a16:creationId xmlns:a16="http://schemas.microsoft.com/office/drawing/2014/main" id="{2B43B831-217D-0549-89D7-FF896DB66FF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2844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5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1" y="907"/>
            <a:ext cx="11950726" cy="6720569"/>
          </a:xfrm>
          <a:prstGeom prst="rect">
            <a:avLst/>
          </a:prstGeom>
        </p:spPr>
      </p:pic>
      <p:sp>
        <p:nvSpPr>
          <p:cNvPr id="2" name="Working Draft Text" hidden="1"/>
          <p:cNvSpPr txBox="1"/>
          <p:nvPr userDrawn="1"/>
        </p:nvSpPr>
        <p:spPr>
          <a:xfrm>
            <a:off x="2540000" y="304800"/>
            <a:ext cx="993862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/>
          <p:nvPr userDrawn="1"/>
        </p:nvSpPr>
        <p:spPr>
          <a:xfrm>
            <a:off x="2540000" y="457200"/>
            <a:ext cx="2827697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Last Modified 11/30/2018 6:36 PM India Standard Time</a:t>
            </a:r>
          </a:p>
        </p:txBody>
      </p:sp>
      <p:sp>
        <p:nvSpPr>
          <p:cNvPr id="8" name="Printed" hidden="1"/>
          <p:cNvSpPr txBox="1"/>
          <p:nvPr userDrawn="1"/>
        </p:nvSpPr>
        <p:spPr>
          <a:xfrm>
            <a:off x="2540001" y="609599"/>
            <a:ext cx="365485" cy="13862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901" b="0" dirty="0">
                <a:solidFill>
                  <a:srgbClr val="000000"/>
                </a:solidFill>
              </a:rPr>
              <a:t>Printe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75490" y="-636"/>
            <a:ext cx="927861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475490" y="1619250"/>
            <a:ext cx="4632539" cy="99719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defRPr lang="x-none" sz="36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Thank you</a:t>
            </a:r>
            <a:endParaRPr lang="x-none" noProof="0" dirty="0"/>
          </a:p>
        </p:txBody>
      </p:sp>
      <p:sp>
        <p:nvSpPr>
          <p:cNvPr id="16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75488" y="5112000"/>
            <a:ext cx="4633200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spcBef>
                <a:spcPts val="0"/>
              </a:spcBef>
              <a:spcAft>
                <a:spcPts val="300"/>
              </a:spcAft>
              <a:defRPr lang="x-none" sz="1399" b="0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</p:spTree>
    <p:extLst>
      <p:ext uri="{BB962C8B-B14F-4D97-AF65-F5344CB8AC3E}">
        <p14:creationId xmlns:p14="http://schemas.microsoft.com/office/powerpoint/2010/main" val="1587615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ep Dive 1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29"/>
          </p:nvPr>
        </p:nvSpPr>
        <p:spPr bwMode="gray">
          <a:xfrm>
            <a:off x="473075" y="2155825"/>
            <a:ext cx="8497670" cy="3906838"/>
          </a:xfrm>
          <a:custGeom>
            <a:avLst/>
            <a:gdLst>
              <a:gd name="connsiteX0" fmla="*/ 0 w 8497670"/>
              <a:gd name="connsiteY0" fmla="*/ 0 h 3906838"/>
              <a:gd name="connsiteX1" fmla="*/ 8497670 w 8497670"/>
              <a:gd name="connsiteY1" fmla="*/ 0 h 3906838"/>
              <a:gd name="connsiteX2" fmla="*/ 8497670 w 8497670"/>
              <a:gd name="connsiteY2" fmla="*/ 3906838 h 3906838"/>
              <a:gd name="connsiteX3" fmla="*/ 0 w 8497670"/>
              <a:gd name="connsiteY3" fmla="*/ 3906838 h 3906838"/>
              <a:gd name="connsiteX4" fmla="*/ 0 w 8497670"/>
              <a:gd name="connsiteY4" fmla="*/ 0 h 3906838"/>
              <a:gd name="connsiteX0" fmla="*/ 0 w 8497670"/>
              <a:gd name="connsiteY0" fmla="*/ 0 h 3906838"/>
              <a:gd name="connsiteX1" fmla="*/ 8497670 w 8497670"/>
              <a:gd name="connsiteY1" fmla="*/ 0 h 3906838"/>
              <a:gd name="connsiteX2" fmla="*/ 6229254 w 8497670"/>
              <a:gd name="connsiteY2" fmla="*/ 3906838 h 3906838"/>
              <a:gd name="connsiteX3" fmla="*/ 0 w 8497670"/>
              <a:gd name="connsiteY3" fmla="*/ 3906838 h 3906838"/>
              <a:gd name="connsiteX4" fmla="*/ 0 w 8497670"/>
              <a:gd name="connsiteY4" fmla="*/ 0 h 3906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7670" h="3906838">
                <a:moveTo>
                  <a:pt x="0" y="0"/>
                </a:moveTo>
                <a:lnTo>
                  <a:pt x="8497670" y="0"/>
                </a:lnTo>
                <a:lnTo>
                  <a:pt x="6229254" y="3906838"/>
                </a:lnTo>
                <a:lnTo>
                  <a:pt x="0" y="3906838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72000" anchor="ctr" anchorCtr="0"/>
          <a:lstStyle>
            <a:lvl1pPr>
              <a:defRPr sz="1399" b="0"/>
            </a:lvl1pPr>
          </a:lstStyle>
          <a:p>
            <a:endParaRPr lang="en-GB" dirty="0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9219375" y="230400"/>
            <a:ext cx="2304001" cy="5832000"/>
          </a:xfrm>
        </p:spPr>
        <p:txBody>
          <a:bodyPr tIns="36000">
            <a:noAutofit/>
          </a:bodyPr>
          <a:lstStyle>
            <a:lvl1pPr>
              <a:defRPr sz="1201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>
              <a:defRPr sz="1201" b="0"/>
            </a:lvl2pPr>
            <a:lvl3pPr>
              <a:defRPr sz="1201" b="0"/>
            </a:lvl3pPr>
            <a:lvl4pPr>
              <a:defRPr sz="1201" b="0"/>
            </a:lvl4pPr>
            <a:lvl5pPr>
              <a:defRPr sz="1201" b="0"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6"/>
                </a:solidFill>
              </a:rPr>
              <a:pPr lvl="0"/>
              <a:t>‹#›</a:t>
            </a:fld>
            <a:endParaRPr lang="x-none" sz="800">
              <a:solidFill>
                <a:schemeClr val="accent6"/>
              </a:solidFill>
            </a:endParaRPr>
          </a:p>
        </p:txBody>
      </p:sp>
      <p:sp>
        <p:nvSpPr>
          <p:cNvPr id="23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75200" y="230401"/>
            <a:ext cx="5794928" cy="828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9122707" y="306000"/>
            <a:ext cx="0" cy="5760000"/>
          </a:xfrm>
          <a:prstGeom prst="line">
            <a:avLst/>
          </a:prstGeom>
          <a:ln w="127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LogoText">
            <a:extLst>
              <a:ext uri="{FF2B5EF4-FFF2-40B4-BE49-F238E27FC236}">
                <a16:creationId xmlns:a16="http://schemas.microsoft.com/office/drawing/2014/main" id="{33BC071C-2465-D348-BA90-74741B1251CB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20778" y="6508273"/>
            <a:ext cx="306494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16"/>
            <a:r>
              <a:rPr lang="en-GB" sz="800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ll content copyright © 2019 QuantumBlack, a McKinsey company </a:t>
            </a:r>
            <a:endParaRPr lang="en-US" sz="800" kern="1200" baseline="0" noProof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427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142231" y="6508272"/>
            <a:ext cx="314348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9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78313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3" Type="http://schemas.openxmlformats.org/officeDocument/2006/relationships/vmlDrawing" Target="../drawings/vmlDrawing1.vml"/><Relationship Id="rId21" Type="http://schemas.openxmlformats.org/officeDocument/2006/relationships/oleObject" Target="../embeddings/oleObject1.bin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" Type="http://schemas.openxmlformats.org/officeDocument/2006/relationships/theme" Target="../theme/theme1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26" Type="http://schemas.openxmlformats.org/officeDocument/2006/relationships/tags" Target="../tags/tag25.xml"/><Relationship Id="rId39" Type="http://schemas.openxmlformats.org/officeDocument/2006/relationships/oleObject" Target="../embeddings/oleObject3.bin"/><Relationship Id="rId21" Type="http://schemas.openxmlformats.org/officeDocument/2006/relationships/vmlDrawing" Target="../drawings/vmlDrawing3.vml"/><Relationship Id="rId34" Type="http://schemas.openxmlformats.org/officeDocument/2006/relationships/tags" Target="../tags/tag33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0" Type="http://schemas.openxmlformats.org/officeDocument/2006/relationships/theme" Target="../theme/theme2.xml"/><Relationship Id="rId29" Type="http://schemas.openxmlformats.org/officeDocument/2006/relationships/tags" Target="../tags/tag28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10" Type="http://schemas.openxmlformats.org/officeDocument/2006/relationships/slideLayout" Target="../slideLayouts/slideLayout11.xml"/><Relationship Id="rId19" Type="http://schemas.openxmlformats.org/officeDocument/2006/relationships/slideLayout" Target="../slideLayouts/slideLayout20.xml"/><Relationship Id="rId31" Type="http://schemas.openxmlformats.org/officeDocument/2006/relationships/tags" Target="../tags/tag30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tags" Target="../tags/tag63.xml"/><Relationship Id="rId39" Type="http://schemas.openxmlformats.org/officeDocument/2006/relationships/tags" Target="../tags/tag76.xml"/><Relationship Id="rId21" Type="http://schemas.openxmlformats.org/officeDocument/2006/relationships/theme" Target="../theme/theme3.xml"/><Relationship Id="rId34" Type="http://schemas.openxmlformats.org/officeDocument/2006/relationships/tags" Target="../tags/tag71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29" Type="http://schemas.openxmlformats.org/officeDocument/2006/relationships/tags" Target="../tags/tag66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tags" Target="../tags/tag61.xml"/><Relationship Id="rId32" Type="http://schemas.openxmlformats.org/officeDocument/2006/relationships/tags" Target="../tags/tag69.xml"/><Relationship Id="rId37" Type="http://schemas.openxmlformats.org/officeDocument/2006/relationships/tags" Target="../tags/tag74.xml"/><Relationship Id="rId40" Type="http://schemas.openxmlformats.org/officeDocument/2006/relationships/oleObject" Target="../embeddings/oleObject16.bin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tags" Target="../tags/tag60.xml"/><Relationship Id="rId28" Type="http://schemas.openxmlformats.org/officeDocument/2006/relationships/tags" Target="../tags/tag65.xml"/><Relationship Id="rId36" Type="http://schemas.openxmlformats.org/officeDocument/2006/relationships/tags" Target="../tags/tag73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tags" Target="../tags/tag68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vmlDrawing" Target="../drawings/vmlDrawing16.vml"/><Relationship Id="rId27" Type="http://schemas.openxmlformats.org/officeDocument/2006/relationships/tags" Target="../tags/tag64.xml"/><Relationship Id="rId30" Type="http://schemas.openxmlformats.org/officeDocument/2006/relationships/tags" Target="../tags/tag67.xml"/><Relationship Id="rId35" Type="http://schemas.openxmlformats.org/officeDocument/2006/relationships/tags" Target="../tags/tag72.xml"/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tags" Target="../tags/tag62.xml"/><Relationship Id="rId33" Type="http://schemas.openxmlformats.org/officeDocument/2006/relationships/tags" Target="../tags/tag70.xml"/><Relationship Id="rId38" Type="http://schemas.openxmlformats.org/officeDocument/2006/relationships/tags" Target="../tags/tag75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tags" Target="../tags/tag112.xml"/><Relationship Id="rId39" Type="http://schemas.openxmlformats.org/officeDocument/2006/relationships/oleObject" Target="../embeddings/oleObject32.bin"/><Relationship Id="rId21" Type="http://schemas.openxmlformats.org/officeDocument/2006/relationships/vmlDrawing" Target="../drawings/vmlDrawing32.vml"/><Relationship Id="rId34" Type="http://schemas.openxmlformats.org/officeDocument/2006/relationships/tags" Target="../tags/tag120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tags" Target="../tags/tag111.xml"/><Relationship Id="rId33" Type="http://schemas.openxmlformats.org/officeDocument/2006/relationships/tags" Target="../tags/tag119.xml"/><Relationship Id="rId38" Type="http://schemas.openxmlformats.org/officeDocument/2006/relationships/tags" Target="../tags/tag124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theme" Target="../theme/theme4.xml"/><Relationship Id="rId29" Type="http://schemas.openxmlformats.org/officeDocument/2006/relationships/tags" Target="../tags/tag115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tags" Target="../tags/tag110.xml"/><Relationship Id="rId32" Type="http://schemas.openxmlformats.org/officeDocument/2006/relationships/tags" Target="../tags/tag118.xml"/><Relationship Id="rId37" Type="http://schemas.openxmlformats.org/officeDocument/2006/relationships/tags" Target="../tags/tag123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tags" Target="../tags/tag109.xml"/><Relationship Id="rId28" Type="http://schemas.openxmlformats.org/officeDocument/2006/relationships/tags" Target="../tags/tag114.xml"/><Relationship Id="rId36" Type="http://schemas.openxmlformats.org/officeDocument/2006/relationships/tags" Target="../tags/tag122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tags" Target="../tags/tag117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tags" Target="../tags/tag108.xml"/><Relationship Id="rId27" Type="http://schemas.openxmlformats.org/officeDocument/2006/relationships/tags" Target="../tags/tag113.xml"/><Relationship Id="rId30" Type="http://schemas.openxmlformats.org/officeDocument/2006/relationships/tags" Target="../tags/tag116.xml"/><Relationship Id="rId35" Type="http://schemas.openxmlformats.org/officeDocument/2006/relationships/tags" Target="../tags/tag121.xml"/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tags" Target="../tags/tag150.xml"/><Relationship Id="rId39" Type="http://schemas.openxmlformats.org/officeDocument/2006/relationships/tags" Target="../tags/tag163.xml"/><Relationship Id="rId21" Type="http://schemas.openxmlformats.org/officeDocument/2006/relationships/slideLayout" Target="../slideLayouts/slideLayout80.xml"/><Relationship Id="rId34" Type="http://schemas.openxmlformats.org/officeDocument/2006/relationships/tags" Target="../tags/tag158.xml"/><Relationship Id="rId42" Type="http://schemas.openxmlformats.org/officeDocument/2006/relationships/tags" Target="../tags/tag166.xml"/><Relationship Id="rId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29" Type="http://schemas.openxmlformats.org/officeDocument/2006/relationships/tags" Target="../tags/tag153.xml"/><Relationship Id="rId41" Type="http://schemas.openxmlformats.org/officeDocument/2006/relationships/tags" Target="../tags/tag165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theme" Target="../theme/theme5.xml"/><Relationship Id="rId32" Type="http://schemas.openxmlformats.org/officeDocument/2006/relationships/tags" Target="../tags/tag156.xml"/><Relationship Id="rId37" Type="http://schemas.openxmlformats.org/officeDocument/2006/relationships/tags" Target="../tags/tag161.xml"/><Relationship Id="rId40" Type="http://schemas.openxmlformats.org/officeDocument/2006/relationships/tags" Target="../tags/tag164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tags" Target="../tags/tag152.xml"/><Relationship Id="rId36" Type="http://schemas.openxmlformats.org/officeDocument/2006/relationships/tags" Target="../tags/tag160.xml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31" Type="http://schemas.openxmlformats.org/officeDocument/2006/relationships/tags" Target="../tags/tag155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tags" Target="../tags/tag151.xml"/><Relationship Id="rId30" Type="http://schemas.openxmlformats.org/officeDocument/2006/relationships/tags" Target="../tags/tag154.xml"/><Relationship Id="rId35" Type="http://schemas.openxmlformats.org/officeDocument/2006/relationships/tags" Target="../tags/tag159.xml"/><Relationship Id="rId43" Type="http://schemas.openxmlformats.org/officeDocument/2006/relationships/oleObject" Target="../embeddings/oleObject41.bin"/><Relationship Id="rId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vmlDrawing" Target="../drawings/vmlDrawing41.vml"/><Relationship Id="rId33" Type="http://schemas.openxmlformats.org/officeDocument/2006/relationships/tags" Target="../tags/tag157.xml"/><Relationship Id="rId38" Type="http://schemas.openxmlformats.org/officeDocument/2006/relationships/tags" Target="../tags/tag162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5.xml"/><Relationship Id="rId18" Type="http://schemas.openxmlformats.org/officeDocument/2006/relationships/vmlDrawing" Target="../drawings/vmlDrawing53.vml"/><Relationship Id="rId26" Type="http://schemas.openxmlformats.org/officeDocument/2006/relationships/tags" Target="../tags/tag204.xml"/><Relationship Id="rId21" Type="http://schemas.openxmlformats.org/officeDocument/2006/relationships/tags" Target="../tags/tag199.xml"/><Relationship Id="rId34" Type="http://schemas.openxmlformats.org/officeDocument/2006/relationships/tags" Target="../tags/tag212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17" Type="http://schemas.openxmlformats.org/officeDocument/2006/relationships/theme" Target="../theme/theme6.xml"/><Relationship Id="rId25" Type="http://schemas.openxmlformats.org/officeDocument/2006/relationships/tags" Target="../tags/tag203.xml"/><Relationship Id="rId33" Type="http://schemas.openxmlformats.org/officeDocument/2006/relationships/tags" Target="../tags/tag211.xml"/><Relationship Id="rId2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98.xml"/><Relationship Id="rId20" Type="http://schemas.openxmlformats.org/officeDocument/2006/relationships/tags" Target="../tags/tag198.xml"/><Relationship Id="rId29" Type="http://schemas.openxmlformats.org/officeDocument/2006/relationships/tags" Target="../tags/tag207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24" Type="http://schemas.openxmlformats.org/officeDocument/2006/relationships/tags" Target="../tags/tag202.xml"/><Relationship Id="rId32" Type="http://schemas.openxmlformats.org/officeDocument/2006/relationships/tags" Target="../tags/tag210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87.xml"/><Relationship Id="rId15" Type="http://schemas.openxmlformats.org/officeDocument/2006/relationships/slideLayout" Target="../slideLayouts/slideLayout97.xml"/><Relationship Id="rId23" Type="http://schemas.openxmlformats.org/officeDocument/2006/relationships/tags" Target="../tags/tag201.xml"/><Relationship Id="rId28" Type="http://schemas.openxmlformats.org/officeDocument/2006/relationships/tags" Target="../tags/tag206.xml"/><Relationship Id="rId36" Type="http://schemas.openxmlformats.org/officeDocument/2006/relationships/oleObject" Target="../embeddings/oleObject53.bin"/><Relationship Id="rId10" Type="http://schemas.openxmlformats.org/officeDocument/2006/relationships/slideLayout" Target="../slideLayouts/slideLayout92.xml"/><Relationship Id="rId19" Type="http://schemas.openxmlformats.org/officeDocument/2006/relationships/tags" Target="../tags/tag197.xml"/><Relationship Id="rId31" Type="http://schemas.openxmlformats.org/officeDocument/2006/relationships/tags" Target="../tags/tag209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Relationship Id="rId22" Type="http://schemas.openxmlformats.org/officeDocument/2006/relationships/tags" Target="../tags/tag200.xml"/><Relationship Id="rId27" Type="http://schemas.openxmlformats.org/officeDocument/2006/relationships/tags" Target="../tags/tag205.xml"/><Relationship Id="rId30" Type="http://schemas.openxmlformats.org/officeDocument/2006/relationships/tags" Target="../tags/tag208.xml"/><Relationship Id="rId35" Type="http://schemas.openxmlformats.org/officeDocument/2006/relationships/tags" Target="../tags/tag213.xml"/><Relationship Id="rId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8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tags" Target="../tags/tag238.xml"/><Relationship Id="rId18" Type="http://schemas.openxmlformats.org/officeDocument/2006/relationships/tags" Target="../tags/tag243.xml"/><Relationship Id="rId26" Type="http://schemas.openxmlformats.org/officeDocument/2006/relationships/tags" Target="../tags/tag251.xml"/><Relationship Id="rId3" Type="http://schemas.openxmlformats.org/officeDocument/2006/relationships/slideLayout" Target="../slideLayouts/slideLayout101.xml"/><Relationship Id="rId21" Type="http://schemas.openxmlformats.org/officeDocument/2006/relationships/tags" Target="../tags/tag246.xml"/><Relationship Id="rId7" Type="http://schemas.openxmlformats.org/officeDocument/2006/relationships/slideLayout" Target="../slideLayouts/slideLayout105.xml"/><Relationship Id="rId12" Type="http://schemas.openxmlformats.org/officeDocument/2006/relationships/tags" Target="../tags/tag237.xml"/><Relationship Id="rId17" Type="http://schemas.openxmlformats.org/officeDocument/2006/relationships/tags" Target="../tags/tag242.xml"/><Relationship Id="rId25" Type="http://schemas.openxmlformats.org/officeDocument/2006/relationships/tags" Target="../tags/tag250.xml"/><Relationship Id="rId2" Type="http://schemas.openxmlformats.org/officeDocument/2006/relationships/slideLayout" Target="../slideLayouts/slideLayout100.xml"/><Relationship Id="rId16" Type="http://schemas.openxmlformats.org/officeDocument/2006/relationships/tags" Target="../tags/tag241.xml"/><Relationship Id="rId20" Type="http://schemas.openxmlformats.org/officeDocument/2006/relationships/tags" Target="../tags/tag245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tags" Target="../tags/tag236.xml"/><Relationship Id="rId24" Type="http://schemas.openxmlformats.org/officeDocument/2006/relationships/tags" Target="../tags/tag249.xml"/><Relationship Id="rId5" Type="http://schemas.openxmlformats.org/officeDocument/2006/relationships/slideLayout" Target="../slideLayouts/slideLayout103.xml"/><Relationship Id="rId15" Type="http://schemas.openxmlformats.org/officeDocument/2006/relationships/tags" Target="../tags/tag240.xml"/><Relationship Id="rId23" Type="http://schemas.openxmlformats.org/officeDocument/2006/relationships/tags" Target="../tags/tag248.xml"/><Relationship Id="rId28" Type="http://schemas.openxmlformats.org/officeDocument/2006/relationships/oleObject" Target="../embeddings/oleObject64.bin"/><Relationship Id="rId10" Type="http://schemas.openxmlformats.org/officeDocument/2006/relationships/vmlDrawing" Target="../drawings/vmlDrawing65.vml"/><Relationship Id="rId19" Type="http://schemas.openxmlformats.org/officeDocument/2006/relationships/tags" Target="../tags/tag244.xml"/><Relationship Id="rId4" Type="http://schemas.openxmlformats.org/officeDocument/2006/relationships/slideLayout" Target="../slideLayouts/slideLayout102.xml"/><Relationship Id="rId9" Type="http://schemas.openxmlformats.org/officeDocument/2006/relationships/theme" Target="../theme/theme7.xml"/><Relationship Id="rId14" Type="http://schemas.openxmlformats.org/officeDocument/2006/relationships/tags" Target="../tags/tag239.xml"/><Relationship Id="rId22" Type="http://schemas.openxmlformats.org/officeDocument/2006/relationships/tags" Target="../tags/tag247.xml"/><Relationship Id="rId27" Type="http://schemas.openxmlformats.org/officeDocument/2006/relationships/tags" Target="../tags/tag2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7834844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90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59522" y="1940592"/>
            <a:ext cx="21929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22/04/2018 8:42 PM AUS Eastern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gray">
          <a:xfrm>
            <a:off x="475488" y="6301182"/>
            <a:ext cx="11049000" cy="330201"/>
            <a:chOff x="75" y="3936"/>
            <a:chExt cx="5385" cy="20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6"/>
              <a:ext cx="4709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3713" indent="-493713" defTabSz="1193860">
                <a:tabLst/>
              </a:pPr>
              <a:r>
                <a:rPr lang="x-none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3753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/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0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187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31043" y="1940592"/>
            <a:ext cx="18498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4/10/2019 6:21 PM India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08789" y="4114418"/>
            <a:ext cx="1694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5/4/2017 11:06 AM Pacific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2"/>
            <a:ext cx="11049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2998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  <p:sldLayoutId id="2147483784" r:id="rId16"/>
    <p:sldLayoutId id="2147483785" r:id="rId17"/>
    <p:sldLayoutId id="2147483786" r:id="rId18"/>
    <p:sldLayoutId id="2147483787" r:id="rId19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bg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98">
          <p15:clr>
            <a:srgbClr val="F26B43"/>
          </p15:clr>
        </p15:guide>
        <p15:guide id="5" pos="7259">
          <p15:clr>
            <a:srgbClr val="F26B43"/>
          </p15:clr>
        </p15:guide>
        <p15:guide id="11" orient="horz" pos="597">
          <p15:clr>
            <a:srgbClr val="F26B43"/>
          </p15:clr>
        </p15:guide>
        <p15:guide id="14" orient="horz" pos="3756">
          <p15:clr>
            <a:srgbClr val="F26B43"/>
          </p15:clr>
        </p15:guide>
        <p15:guide id="15" orient="horz" pos="410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68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4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31043" y="1940592"/>
            <a:ext cx="18498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4/10/2019 9:22 PM India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08789" y="4114418"/>
            <a:ext cx="1694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5/4/2017 11:06 AM Pacific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2"/>
            <a:ext cx="11049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8891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8" r:id="rId17"/>
    <p:sldLayoutId id="2147483809" r:id="rId18"/>
    <p:sldLayoutId id="2147483810" r:id="rId19"/>
    <p:sldLayoutId id="2147483811" r:id="rId20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bg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>
            <a:lumMod val="60000"/>
            <a:lumOff val="40000"/>
          </a:schemeClr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17">
          <p15:clr>
            <a:srgbClr val="F26B43"/>
          </p15:clr>
        </p15:guide>
        <p15:guide id="3" pos="298">
          <p15:clr>
            <a:srgbClr val="F26B43"/>
          </p15:clr>
        </p15:guide>
        <p15:guide id="5" pos="7259">
          <p15:clr>
            <a:srgbClr val="F26B43"/>
          </p15:clr>
        </p15:guide>
        <p15:guide id="6" pos="6044">
          <p15:clr>
            <a:srgbClr val="F26B43"/>
          </p15:clr>
        </p15:guide>
        <p15:guide id="7" pos="4231">
          <p15:clr>
            <a:srgbClr val="F26B43"/>
          </p15:clr>
        </p15:guide>
        <p15:guide id="9" pos="2652">
          <p15:clr>
            <a:srgbClr val="F26B43"/>
          </p15:clr>
        </p15:guide>
        <p15:guide id="10" orient="horz" pos="1020">
          <p15:clr>
            <a:srgbClr val="F26B43"/>
          </p15:clr>
        </p15:guide>
        <p15:guide id="11" orient="horz" pos="597">
          <p15:clr>
            <a:srgbClr val="F26B43"/>
          </p15:clr>
        </p15:guide>
        <p15:guide id="12" orient="horz" pos="348">
          <p15:clr>
            <a:srgbClr val="F26B43"/>
          </p15:clr>
        </p15:guide>
        <p15:guide id="14" orient="horz" pos="3756">
          <p15:clr>
            <a:srgbClr val="F26B43"/>
          </p15:clr>
        </p15:guide>
        <p15:guide id="15" orient="horz" pos="410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000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31043" y="1940592"/>
            <a:ext cx="18498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4/10/2019 9:22 PM India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08789" y="4114418"/>
            <a:ext cx="1694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5/4/2017 11:06 AM Pacific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2"/>
            <a:ext cx="11049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8029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4" r:id="rId12"/>
    <p:sldLayoutId id="2147483825" r:id="rId13"/>
    <p:sldLayoutId id="2147483826" r:id="rId14"/>
    <p:sldLayoutId id="2147483827" r:id="rId15"/>
    <p:sldLayoutId id="2147483828" r:id="rId16"/>
    <p:sldLayoutId id="2147483829" r:id="rId17"/>
    <p:sldLayoutId id="2147483830" r:id="rId18"/>
    <p:sldLayoutId id="2147483831" r:id="rId19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/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17">
          <p15:clr>
            <a:srgbClr val="F26B43"/>
          </p15:clr>
        </p15:guide>
        <p15:guide id="2" pos="298">
          <p15:clr>
            <a:srgbClr val="F26B43"/>
          </p15:clr>
        </p15:guide>
        <p15:guide id="4" pos="7259">
          <p15:clr>
            <a:srgbClr val="F26B43"/>
          </p15:clr>
        </p15:guide>
        <p15:guide id="5" pos="5805">
          <p15:clr>
            <a:srgbClr val="F26B43"/>
          </p15:clr>
        </p15:guide>
        <p15:guide id="6" pos="4231">
          <p15:clr>
            <a:srgbClr val="F26B43"/>
          </p15:clr>
        </p15:guide>
        <p15:guide id="8" pos="2656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97">
          <p15:clr>
            <a:srgbClr val="F26B43"/>
          </p15:clr>
        </p15:guide>
        <p15:guide id="11" orient="horz" pos="348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6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50" name="think-cell Slide" r:id="rId43" imgW="270" imgH="270" progId="TCLayout.ActiveDocument.1">
                  <p:embed/>
                </p:oleObj>
              </mc:Choice>
              <mc:Fallback>
                <p:oleObj name="think-cell Slide" r:id="rId4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656"/>
            <a:ext cx="1893147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599" baseline="0" noProof="0" dirty="0">
                <a:solidFill>
                  <a:schemeClr val="accent6"/>
                </a:solidFill>
                <a:latin typeface="+mn-lt"/>
                <a:ea typeface="+mn-ea"/>
              </a:rPr>
              <a:t>Last Modified 11/30/2018 6:36 PM India Standard Time</a:t>
            </a:r>
            <a:endParaRPr lang="x-none" sz="599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733346" y="4114483"/>
            <a:ext cx="24526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599" baseline="0" noProof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90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4"/>
            <a:ext cx="1104900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noProof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3"/>
            <a:ext cx="1104900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3" indent="-85723">
              <a:defRPr lang="x-none"/>
            </a:pPr>
            <a:r>
              <a:rPr lang="x-none" sz="800" baseline="0" noProof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9"/>
            <a:ext cx="966197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695" indent="-493695" defTabSz="1193816">
              <a:tabLst/>
            </a:pPr>
            <a:r>
              <a:rPr lang="x-none" sz="800" baseline="0" noProof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8" y="1618489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9" y="1653570"/>
            <a:ext cx="5685617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201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2" y="285751"/>
            <a:ext cx="473335" cy="150811"/>
            <a:chOff x="8385789" y="285750"/>
            <a:chExt cx="354986" cy="15081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16">
                <a:buClr>
                  <a:schemeClr val="tx2"/>
                </a:buClr>
              </a:pPr>
              <a:r>
                <a:rPr lang="x-none" sz="800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2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8" y="279401"/>
            <a:ext cx="763754" cy="997595"/>
            <a:chOff x="7835905" y="279400"/>
            <a:chExt cx="763753" cy="997595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4" y="54927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4" y="820738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4" y="1092201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62" y="279400"/>
            <a:ext cx="1071730" cy="730895"/>
            <a:chOff x="7540629" y="279400"/>
            <a:chExt cx="1071729" cy="730895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3" y="546100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3" y="825501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61" y="279400"/>
            <a:ext cx="830431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899" y="26352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1" y="538163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899" y="812802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899" y="108426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899" y="1360490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1087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845" r:id="rId12"/>
    <p:sldLayoutId id="2147483846" r:id="rId13"/>
    <p:sldLayoutId id="2147483847" r:id="rId14"/>
    <p:sldLayoutId id="2147483848" r:id="rId15"/>
    <p:sldLayoutId id="2147483849" r:id="rId16"/>
    <p:sldLayoutId id="2147483850" r:id="rId17"/>
    <p:sldLayoutId id="2147483851" r:id="rId18"/>
    <p:sldLayoutId id="2147483852" r:id="rId19"/>
    <p:sldLayoutId id="2147483853" r:id="rId20"/>
    <p:sldLayoutId id="2147483854" r:id="rId21"/>
    <p:sldLayoutId id="2147483855" r:id="rId22"/>
    <p:sldLayoutId id="2147483857" r:id="rId23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16" rtl="0" eaLnBrk="1" fontAlgn="base" hangingPunct="1">
        <a:spcBef>
          <a:spcPct val="0"/>
        </a:spcBef>
        <a:spcAft>
          <a:spcPct val="0"/>
        </a:spcAft>
        <a:tabLst>
          <a:tab pos="359837" algn="l"/>
        </a:tabLst>
        <a:defRPr lang="x-none" sz="26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08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17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25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433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16" rtl="0" eaLnBrk="1" fontAlgn="base" hangingPunct="1">
        <a:spcBef>
          <a:spcPts val="599"/>
        </a:spcBef>
        <a:spcAft>
          <a:spcPts val="599"/>
        </a:spcAft>
        <a:buClr>
          <a:schemeClr val="tx2"/>
        </a:buClr>
        <a:buSzPct val="100000"/>
        <a:defRPr lang="x-none" sz="16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2115" indent="0" algn="l" defTabSz="1193816" rtl="0" eaLnBrk="1" fontAlgn="base" hangingPunct="1">
        <a:spcBef>
          <a:spcPts val="599"/>
        </a:spcBef>
        <a:spcAft>
          <a:spcPts val="599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/>
          </a:solidFill>
          <a:latin typeface="+mn-lt"/>
        </a:defRPr>
      </a:lvl2pPr>
      <a:lvl3pPr marL="168269" indent="-168269" algn="l" defTabSz="1193816" rtl="0" eaLnBrk="1" fontAlgn="base" hangingPunct="1">
        <a:spcBef>
          <a:spcPct val="0"/>
        </a:spcBef>
        <a:spcAft>
          <a:spcPts val="599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3pPr>
      <a:lvl4pPr marL="350825" indent="-182556" algn="l" defTabSz="1193816" rtl="0" eaLnBrk="1" fontAlgn="base" hangingPunct="1">
        <a:spcBef>
          <a:spcPct val="0"/>
        </a:spcBef>
        <a:spcAft>
          <a:spcPts val="599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4pPr>
      <a:lvl5pPr marL="579416" indent="-228592" algn="l" defTabSz="1193816" rtl="0" eaLnBrk="1" fontAlgn="base" hangingPunct="1">
        <a:spcBef>
          <a:spcPct val="0"/>
        </a:spcBef>
        <a:spcAft>
          <a:spcPts val="599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/>
          </a:solidFill>
          <a:latin typeface="+mn-lt"/>
        </a:defRPr>
      </a:lvl5pPr>
      <a:lvl6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608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9217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825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8433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804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765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7256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6866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1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10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0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656"/>
            <a:ext cx="1893147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599" baseline="0" noProof="0" dirty="0">
                <a:solidFill>
                  <a:schemeClr val="accent6"/>
                </a:solidFill>
                <a:latin typeface="+mn-lt"/>
                <a:ea typeface="+mn-ea"/>
              </a:rPr>
              <a:t>Last Modified 11/30/2018 6:36 PM India Standard Time</a:t>
            </a:r>
            <a:endParaRPr lang="x-none" sz="599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733346" y="4114483"/>
            <a:ext cx="24526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599" baseline="0" noProof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90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4"/>
            <a:ext cx="1104900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noProof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3"/>
            <a:ext cx="1104900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3" indent="-85723">
              <a:defRPr lang="x-none"/>
            </a:pPr>
            <a:r>
              <a:rPr lang="x-none" sz="800" baseline="0" noProof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9"/>
            <a:ext cx="966197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695" indent="-493695" defTabSz="1193816">
              <a:tabLst/>
            </a:pPr>
            <a:r>
              <a:rPr lang="x-none" sz="800" baseline="0" noProof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8" y="1618489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9" y="1653570"/>
            <a:ext cx="5685617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201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2" y="285751"/>
            <a:ext cx="473335" cy="150811"/>
            <a:chOff x="8385789" y="285750"/>
            <a:chExt cx="354986" cy="15081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16">
                <a:buClr>
                  <a:schemeClr val="tx2"/>
                </a:buClr>
              </a:pPr>
              <a:r>
                <a:rPr lang="x-none" sz="800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2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2"/>
            <a:ext cx="1166410" cy="9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17"/>
            <a:endParaRPr lang="x-none" sz="59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8" y="279401"/>
            <a:ext cx="763754" cy="997595"/>
            <a:chOff x="7835905" y="279400"/>
            <a:chExt cx="763753" cy="997595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4" y="54927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4" y="820738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4" y="1092201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62" y="279400"/>
            <a:ext cx="1071730" cy="730895"/>
            <a:chOff x="7540629" y="279400"/>
            <a:chExt cx="1071729" cy="730895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1" baseline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3" y="546100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3" y="825501"/>
              <a:ext cx="509755" cy="184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61" y="279400"/>
            <a:ext cx="830431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1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899" y="26352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1" y="538163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899" y="812802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899" y="1084265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899" y="1360490"/>
              <a:ext cx="509754" cy="184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chemeClr val="tx2"/>
                </a:buClr>
              </a:pPr>
              <a:r>
                <a:rPr lang="x-none" sz="1201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7034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  <p:sldLayoutId id="2147483872" r:id="rId12"/>
    <p:sldLayoutId id="2147483873" r:id="rId13"/>
    <p:sldLayoutId id="2147483874" r:id="rId14"/>
    <p:sldLayoutId id="2147483875" r:id="rId15"/>
    <p:sldLayoutId id="2147483876" r:id="rId16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16" rtl="0" eaLnBrk="1" fontAlgn="base" hangingPunct="1">
        <a:spcBef>
          <a:spcPct val="0"/>
        </a:spcBef>
        <a:spcAft>
          <a:spcPct val="0"/>
        </a:spcAft>
        <a:tabLst>
          <a:tab pos="359837" algn="l"/>
        </a:tabLst>
        <a:defRPr lang="x-none" sz="260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08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17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25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433" algn="l" defTabSz="1193816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16" rtl="0" eaLnBrk="1" fontAlgn="base" hangingPunct="1">
        <a:spcBef>
          <a:spcPts val="599"/>
        </a:spcBef>
        <a:spcAft>
          <a:spcPts val="599"/>
        </a:spcAft>
        <a:buClr>
          <a:schemeClr val="tx2"/>
        </a:buClr>
        <a:buSzPct val="100000"/>
        <a:defRPr lang="x-none" sz="1600" b="1" baseline="0">
          <a:solidFill>
            <a:schemeClr val="bg1"/>
          </a:solidFill>
          <a:latin typeface="+mn-lt"/>
          <a:ea typeface="+mn-ea"/>
          <a:cs typeface="+mn-cs"/>
        </a:defRPr>
      </a:lvl1pPr>
      <a:lvl2pPr marL="2115" indent="0" algn="l" defTabSz="1193816" rtl="0" eaLnBrk="1" fontAlgn="base" hangingPunct="1">
        <a:spcBef>
          <a:spcPts val="599"/>
        </a:spcBef>
        <a:spcAft>
          <a:spcPts val="599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2pPr>
      <a:lvl3pPr marL="168269" indent="-168269" algn="l" defTabSz="1193816" rtl="0" eaLnBrk="1" fontAlgn="base" hangingPunct="1">
        <a:spcBef>
          <a:spcPct val="0"/>
        </a:spcBef>
        <a:spcAft>
          <a:spcPts val="599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3pPr>
      <a:lvl4pPr marL="350825" indent="-182556" algn="l" defTabSz="1193816" rtl="0" eaLnBrk="1" fontAlgn="base" hangingPunct="1">
        <a:spcBef>
          <a:spcPct val="0"/>
        </a:spcBef>
        <a:spcAft>
          <a:spcPts val="599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4pPr>
      <a:lvl5pPr marL="579416" indent="-228592" algn="l" defTabSz="1193816" rtl="0" eaLnBrk="1" fontAlgn="base" hangingPunct="1">
        <a:spcBef>
          <a:spcPct val="0"/>
        </a:spcBef>
        <a:spcAft>
          <a:spcPts val="599"/>
        </a:spcAft>
        <a:buClr>
          <a:schemeClr val="accent6">
            <a:lumMod val="60000"/>
            <a:lumOff val="40000"/>
          </a:schemeClr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5pPr>
      <a:lvl6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58" indent="-173569" algn="l" defTabSz="11938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608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9217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825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8433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804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7650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7256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6866" algn="l" defTabSz="1219217" rtl="0" eaLnBrk="1" latinLnBrk="0" hangingPunct="1">
        <a:defRPr lang="x-none"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3" pos="298">
          <p15:clr>
            <a:srgbClr val="F26B43"/>
          </p15:clr>
        </p15:guide>
        <p15:guide id="4" pos="1436">
          <p15:clr>
            <a:srgbClr val="F26B43"/>
          </p15:clr>
        </p15:guide>
        <p15:guide id="5" pos="7259">
          <p15:clr>
            <a:srgbClr val="F26B43"/>
          </p15:clr>
        </p15:guide>
        <p15:guide id="6" pos="6044">
          <p15:clr>
            <a:srgbClr val="F26B43"/>
          </p15:clr>
        </p15:guide>
        <p15:guide id="7" pos="4891">
          <p15:clr>
            <a:srgbClr val="F26B43"/>
          </p15:clr>
        </p15:guide>
        <p15:guide id="8" pos="3741">
          <p15:clr>
            <a:srgbClr val="F26B43"/>
          </p15:clr>
        </p15:guide>
        <p15:guide id="9" pos="2587">
          <p15:clr>
            <a:srgbClr val="F26B43"/>
          </p15:clr>
        </p15:guide>
        <p15:guide id="10" orient="horz" pos="1020">
          <p15:clr>
            <a:srgbClr val="F26B43"/>
          </p15:clr>
        </p15:guide>
        <p15:guide id="11" orient="horz" pos="529">
          <p15:clr>
            <a:srgbClr val="F26B43"/>
          </p15:clr>
        </p15:guide>
        <p15:guide id="12" orient="horz" pos="348">
          <p15:clr>
            <a:srgbClr val="F26B43"/>
          </p15:clr>
        </p15:guide>
        <p15:guide id="13" orient="horz" pos="2844">
          <p15:clr>
            <a:srgbClr val="F26B43"/>
          </p15:clr>
        </p15:guide>
        <p15:guide id="14" orient="horz" pos="3756">
          <p15:clr>
            <a:srgbClr val="F26B43"/>
          </p15:clr>
        </p15:guide>
        <p15:guide id="15" orient="horz" pos="4109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246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92383" y="1940592"/>
            <a:ext cx="212718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/30/2019 9:57 PM AUS Eastern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08789" y="4114418"/>
            <a:ext cx="1694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5/4/2017 11:06 AM Pacific Standard Time</a:t>
            </a:r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8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8" y="675333"/>
            <a:ext cx="11049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75488" y="6301182"/>
            <a:ext cx="11049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89" y="1618488"/>
            <a:ext cx="9119362" cy="16158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8" y="1653569"/>
            <a:ext cx="5685618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971635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10251980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760733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452758" y="279400"/>
            <a:ext cx="1071730" cy="730767"/>
            <a:chOff x="7540629" y="279400"/>
            <a:chExt cx="1071730" cy="730767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94058" y="279400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 userDrawn="1">
            <p:ph type="title"/>
          </p:nvPr>
        </p:nvSpPr>
        <p:spPr>
          <a:xfrm>
            <a:off x="475488" y="230189"/>
            <a:ext cx="11044800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5509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6" r:id="rId8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x-none" sz="26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lang="x-none"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00000"/>
        <a:defRPr lang="x-none" sz="16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2116" indent="0" algn="l" defTabSz="1193860" rtl="0" eaLnBrk="1" fontAlgn="base" hangingPunct="1">
        <a:spcBef>
          <a:spcPts val="600"/>
        </a:spcBef>
        <a:spcAft>
          <a:spcPts val="600"/>
        </a:spcAft>
        <a:buClr>
          <a:schemeClr val="tx2"/>
        </a:buClr>
        <a:buSzPct val="125000"/>
        <a:buFontTx/>
        <a:buNone/>
        <a:defRPr lang="x-none" sz="1600" b="0" baseline="0">
          <a:solidFill>
            <a:schemeClr val="accent6"/>
          </a:solidFill>
          <a:latin typeface="+mn-lt"/>
        </a:defRPr>
      </a:lvl2pPr>
      <a:lvl3pPr marL="168275" indent="-168275" algn="l" defTabSz="119386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3pPr>
      <a:lvl4pPr marL="350838" indent="-182563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accent6"/>
          </a:solidFill>
          <a:latin typeface="+mn-lt"/>
        </a:defRPr>
      </a:lvl4pPr>
      <a:lvl5pPr marL="579438" indent="-228600" algn="l" defTabSz="1193860" rtl="0" eaLnBrk="1" fontAlgn="base" hangingPunct="1">
        <a:spcBef>
          <a:spcPct val="0"/>
        </a:spcBef>
        <a:spcAft>
          <a:spcPts val="600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600" baseline="0">
          <a:solidFill>
            <a:schemeClr val="accent6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17">
          <p15:clr>
            <a:srgbClr val="F26B43"/>
          </p15:clr>
        </p15:guide>
        <p15:guide id="2" pos="298">
          <p15:clr>
            <a:srgbClr val="F26B43"/>
          </p15:clr>
        </p15:guide>
        <p15:guide id="4" pos="7259">
          <p15:clr>
            <a:srgbClr val="F26B43"/>
          </p15:clr>
        </p15:guide>
        <p15:guide id="5" pos="5805">
          <p15:clr>
            <a:srgbClr val="F26B43"/>
          </p15:clr>
        </p15:guide>
        <p15:guide id="6" pos="4231">
          <p15:clr>
            <a:srgbClr val="F26B43"/>
          </p15:clr>
        </p15:guide>
        <p15:guide id="8" pos="2656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97">
          <p15:clr>
            <a:srgbClr val="F26B43"/>
          </p15:clr>
        </p15:guide>
        <p15:guide id="11" orient="horz" pos="348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67.xml"/><Relationship Id="rId2" Type="http://schemas.openxmlformats.org/officeDocument/2006/relationships/tags" Target="../tags/tag266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0.bin"/><Relationship Id="rId4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10.xml"/><Relationship Id="rId2" Type="http://schemas.openxmlformats.org/officeDocument/2006/relationships/tags" Target="../tags/tag309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9.bin"/><Relationship Id="rId4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12.xml"/><Relationship Id="rId7" Type="http://schemas.openxmlformats.org/officeDocument/2006/relationships/image" Target="../media/image20.emf"/><Relationship Id="rId2" Type="http://schemas.openxmlformats.org/officeDocument/2006/relationships/tags" Target="../tags/tag311.xml"/><Relationship Id="rId1" Type="http://schemas.openxmlformats.org/officeDocument/2006/relationships/vmlDrawing" Target="../drawings/vmlDrawing81.vml"/><Relationship Id="rId6" Type="http://schemas.openxmlformats.org/officeDocument/2006/relationships/oleObject" Target="../embeddings/oleObject80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1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315.xml"/><Relationship Id="rId7" Type="http://schemas.openxmlformats.org/officeDocument/2006/relationships/oleObject" Target="../embeddings/oleObject81.bin"/><Relationship Id="rId2" Type="http://schemas.openxmlformats.org/officeDocument/2006/relationships/tags" Target="../tags/tag314.xml"/><Relationship Id="rId1" Type="http://schemas.openxmlformats.org/officeDocument/2006/relationships/vmlDrawing" Target="../drawings/vmlDrawing82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317.xml"/><Relationship Id="rId4" Type="http://schemas.openxmlformats.org/officeDocument/2006/relationships/tags" Target="../tags/tag3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20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82.bin"/><Relationship Id="rId4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22.xml"/><Relationship Id="rId7" Type="http://schemas.openxmlformats.org/officeDocument/2006/relationships/image" Target="../media/image38.png"/><Relationship Id="rId2" Type="http://schemas.openxmlformats.org/officeDocument/2006/relationships/tags" Target="../tags/tag321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83.bin"/><Relationship Id="rId4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26.xml"/><Relationship Id="rId7" Type="http://schemas.openxmlformats.org/officeDocument/2006/relationships/image" Target="../media/image39.png"/><Relationship Id="rId2" Type="http://schemas.openxmlformats.org/officeDocument/2006/relationships/tags" Target="../tags/tag325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84.bin"/><Relationship Id="rId4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69.xml"/><Relationship Id="rId2" Type="http://schemas.openxmlformats.org/officeDocument/2006/relationships/tags" Target="../tags/tag268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71.bin"/><Relationship Id="rId4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76.xml"/><Relationship Id="rId13" Type="http://schemas.openxmlformats.org/officeDocument/2006/relationships/tags" Target="../tags/tag281.xml"/><Relationship Id="rId18" Type="http://schemas.openxmlformats.org/officeDocument/2006/relationships/tags" Target="../tags/tag286.xml"/><Relationship Id="rId3" Type="http://schemas.openxmlformats.org/officeDocument/2006/relationships/tags" Target="../tags/tag271.xml"/><Relationship Id="rId21" Type="http://schemas.openxmlformats.org/officeDocument/2006/relationships/tags" Target="../tags/tag289.xml"/><Relationship Id="rId7" Type="http://schemas.openxmlformats.org/officeDocument/2006/relationships/tags" Target="../tags/tag275.xml"/><Relationship Id="rId12" Type="http://schemas.openxmlformats.org/officeDocument/2006/relationships/tags" Target="../tags/tag280.xml"/><Relationship Id="rId17" Type="http://schemas.openxmlformats.org/officeDocument/2006/relationships/tags" Target="../tags/tag285.xml"/><Relationship Id="rId2" Type="http://schemas.openxmlformats.org/officeDocument/2006/relationships/tags" Target="../tags/tag270.xml"/><Relationship Id="rId16" Type="http://schemas.openxmlformats.org/officeDocument/2006/relationships/tags" Target="../tags/tag284.xml"/><Relationship Id="rId20" Type="http://schemas.openxmlformats.org/officeDocument/2006/relationships/tags" Target="../tags/tag288.xml"/><Relationship Id="rId1" Type="http://schemas.openxmlformats.org/officeDocument/2006/relationships/vmlDrawing" Target="../drawings/vmlDrawing73.vml"/><Relationship Id="rId6" Type="http://schemas.openxmlformats.org/officeDocument/2006/relationships/tags" Target="../tags/tag274.xml"/><Relationship Id="rId11" Type="http://schemas.openxmlformats.org/officeDocument/2006/relationships/tags" Target="../tags/tag279.xml"/><Relationship Id="rId24" Type="http://schemas.openxmlformats.org/officeDocument/2006/relationships/image" Target="../media/image33.emf"/><Relationship Id="rId5" Type="http://schemas.openxmlformats.org/officeDocument/2006/relationships/tags" Target="../tags/tag273.xml"/><Relationship Id="rId15" Type="http://schemas.openxmlformats.org/officeDocument/2006/relationships/tags" Target="../tags/tag283.xml"/><Relationship Id="rId23" Type="http://schemas.openxmlformats.org/officeDocument/2006/relationships/oleObject" Target="../embeddings/oleObject72.bin"/><Relationship Id="rId10" Type="http://schemas.openxmlformats.org/officeDocument/2006/relationships/tags" Target="../tags/tag278.xml"/><Relationship Id="rId19" Type="http://schemas.openxmlformats.org/officeDocument/2006/relationships/tags" Target="../tags/tag287.xml"/><Relationship Id="rId4" Type="http://schemas.openxmlformats.org/officeDocument/2006/relationships/tags" Target="../tags/tag272.xml"/><Relationship Id="rId9" Type="http://schemas.openxmlformats.org/officeDocument/2006/relationships/tags" Target="../tags/tag277.xml"/><Relationship Id="rId14" Type="http://schemas.openxmlformats.org/officeDocument/2006/relationships/tags" Target="../tags/tag282.xml"/><Relationship Id="rId22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91.xml"/><Relationship Id="rId2" Type="http://schemas.openxmlformats.org/officeDocument/2006/relationships/tags" Target="../tags/tag290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73.bin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emf"/><Relationship Id="rId3" Type="http://schemas.openxmlformats.org/officeDocument/2006/relationships/tags" Target="../tags/tag293.xml"/><Relationship Id="rId7" Type="http://schemas.openxmlformats.org/officeDocument/2006/relationships/oleObject" Target="../embeddings/oleObject74.bin"/><Relationship Id="rId2" Type="http://schemas.openxmlformats.org/officeDocument/2006/relationships/tags" Target="../tags/tag292.xml"/><Relationship Id="rId1" Type="http://schemas.openxmlformats.org/officeDocument/2006/relationships/vmlDrawing" Target="../drawings/vmlDrawing75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95.xml"/><Relationship Id="rId4" Type="http://schemas.openxmlformats.org/officeDocument/2006/relationships/tags" Target="../tags/tag29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5.bin"/><Relationship Id="rId3" Type="http://schemas.openxmlformats.org/officeDocument/2006/relationships/tags" Target="../tags/tag297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296.xml"/><Relationship Id="rId1" Type="http://schemas.openxmlformats.org/officeDocument/2006/relationships/vmlDrawing" Target="../drawings/vmlDrawing76.vml"/><Relationship Id="rId6" Type="http://schemas.openxmlformats.org/officeDocument/2006/relationships/tags" Target="../tags/tag300.xml"/><Relationship Id="rId11" Type="http://schemas.openxmlformats.org/officeDocument/2006/relationships/image" Target="../media/image36.png"/><Relationship Id="rId5" Type="http://schemas.openxmlformats.org/officeDocument/2006/relationships/tags" Target="../tags/tag299.xml"/><Relationship Id="rId10" Type="http://schemas.openxmlformats.org/officeDocument/2006/relationships/image" Target="../media/image35.png"/><Relationship Id="rId4" Type="http://schemas.openxmlformats.org/officeDocument/2006/relationships/tags" Target="../tags/tag298.xml"/><Relationship Id="rId9" Type="http://schemas.openxmlformats.org/officeDocument/2006/relationships/image" Target="../media/image34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02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6.bin"/><Relationship Id="rId4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304.xml"/><Relationship Id="rId7" Type="http://schemas.openxmlformats.org/officeDocument/2006/relationships/oleObject" Target="../embeddings/oleObject77.bin"/><Relationship Id="rId2" Type="http://schemas.openxmlformats.org/officeDocument/2006/relationships/tags" Target="../tags/tag303.xml"/><Relationship Id="rId1" Type="http://schemas.openxmlformats.org/officeDocument/2006/relationships/vmlDrawing" Target="../drawings/vmlDrawing78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306.xml"/><Relationship Id="rId4" Type="http://schemas.openxmlformats.org/officeDocument/2006/relationships/tags" Target="../tags/tag30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08.xml"/><Relationship Id="rId2" Type="http://schemas.openxmlformats.org/officeDocument/2006/relationships/tags" Target="../tags/tag307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8.bin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C373AC1-D54E-47AD-84A0-DE908F664B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49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C373AC1-D54E-47AD-84A0-DE908F664B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54FB3F-8A82-421F-B4DC-7C241853401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ctrTitle"/>
          </p:nvPr>
        </p:nvSpPr>
        <p:spPr>
          <a:xfrm>
            <a:off x="475488" y="1619250"/>
            <a:ext cx="4632540" cy="498598"/>
          </a:xfrm>
        </p:spPr>
        <p:txBody>
          <a:bodyPr>
            <a:spAutoFit/>
          </a:bodyPr>
          <a:lstStyle/>
          <a:p>
            <a:r>
              <a:rPr lang="en-US" dirty="0"/>
              <a:t>Predictive Modeling</a:t>
            </a:r>
          </a:p>
        </p:txBody>
      </p:sp>
      <p:sp>
        <p:nvSpPr>
          <p:cNvPr id="13" name="Subtitle 3"/>
          <p:cNvSpPr>
            <a:spLocks noGrp="1"/>
          </p:cNvSpPr>
          <p:nvPr>
            <p:ph type="subTitle" idx="1"/>
          </p:nvPr>
        </p:nvSpPr>
        <p:spPr>
          <a:xfrm>
            <a:off x="475488" y="3373986"/>
            <a:ext cx="4632540" cy="723275"/>
          </a:xfrm>
        </p:spPr>
        <p:txBody>
          <a:bodyPr>
            <a:spAutoFit/>
          </a:bodyPr>
          <a:lstStyle/>
          <a:p>
            <a:r>
              <a:rPr lang="en-US" dirty="0"/>
              <a:t>Logistic Regression</a:t>
            </a:r>
          </a:p>
          <a:p>
            <a:r>
              <a:rPr lang="en-US" dirty="0"/>
              <a:t>Decision Trees</a:t>
            </a:r>
          </a:p>
          <a:p>
            <a:r>
              <a:rPr lang="en-US" dirty="0"/>
              <a:t>Ensembles: Bagging and Boos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9926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75AA32-409B-470F-97FB-070635DA71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85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75AA32-409B-470F-97FB-070635DA7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0E662F0-1809-491E-B023-B4E2A23540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2F6A80-5316-594E-9A92-0CB9E34B9607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Bagging vs. Boost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877193A-8AD6-4913-8C15-153F1BF8BE71}"/>
              </a:ext>
            </a:extLst>
          </p:cNvPr>
          <p:cNvSpPr/>
          <p:nvPr/>
        </p:nvSpPr>
        <p:spPr>
          <a:xfrm>
            <a:off x="475488" y="1422400"/>
            <a:ext cx="3557912" cy="477520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D60B85C-5D57-4670-8F32-5D1C39608133}"/>
              </a:ext>
            </a:extLst>
          </p:cNvPr>
          <p:cNvSpPr/>
          <p:nvPr/>
        </p:nvSpPr>
        <p:spPr>
          <a:xfrm>
            <a:off x="4218932" y="1422400"/>
            <a:ext cx="3557912" cy="47752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2D86009-5DB4-4A39-A295-54D434C0629B}"/>
              </a:ext>
            </a:extLst>
          </p:cNvPr>
          <p:cNvSpPr/>
          <p:nvPr/>
        </p:nvSpPr>
        <p:spPr>
          <a:xfrm>
            <a:off x="7962376" y="1422400"/>
            <a:ext cx="3557912" cy="4775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6C5D086-C36D-4438-A552-737807809079}"/>
              </a:ext>
            </a:extLst>
          </p:cNvPr>
          <p:cNvSpPr txBox="1"/>
          <p:nvPr/>
        </p:nvSpPr>
        <p:spPr>
          <a:xfrm>
            <a:off x="1793581" y="979313"/>
            <a:ext cx="921727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3A26C49-B0C6-4180-813A-5AD0A83A160C}"/>
              </a:ext>
            </a:extLst>
          </p:cNvPr>
          <p:cNvSpPr txBox="1"/>
          <p:nvPr/>
        </p:nvSpPr>
        <p:spPr>
          <a:xfrm>
            <a:off x="5383136" y="979313"/>
            <a:ext cx="1229504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gin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DC9B845-28DE-49E6-B851-D9F4CA424AC7}"/>
              </a:ext>
            </a:extLst>
          </p:cNvPr>
          <p:cNvSpPr txBox="1"/>
          <p:nvPr/>
        </p:nvSpPr>
        <p:spPr>
          <a:xfrm>
            <a:off x="9075284" y="979313"/>
            <a:ext cx="1332096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osting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8595AED-8C10-474E-A015-FFF1FEC2200F}"/>
              </a:ext>
            </a:extLst>
          </p:cNvPr>
          <p:cNvGrpSpPr/>
          <p:nvPr/>
        </p:nvGrpSpPr>
        <p:grpSpPr>
          <a:xfrm>
            <a:off x="627255" y="2968624"/>
            <a:ext cx="3250119" cy="1393826"/>
            <a:chOff x="627255" y="3121024"/>
            <a:chExt cx="3250119" cy="1393826"/>
          </a:xfrm>
        </p:grpSpPr>
        <p:grpSp>
          <p:nvGrpSpPr>
            <p:cNvPr id="258" name="Group 257">
              <a:extLst>
                <a:ext uri="{FF2B5EF4-FFF2-40B4-BE49-F238E27FC236}">
                  <a16:creationId xmlns:a16="http://schemas.microsoft.com/office/drawing/2014/main" id="{1531B37F-4802-4591-99E9-B7ADD2D67E88}"/>
                </a:ext>
              </a:extLst>
            </p:cNvPr>
            <p:cNvGrpSpPr/>
            <p:nvPr/>
          </p:nvGrpSpPr>
          <p:grpSpPr>
            <a:xfrm>
              <a:off x="627255" y="3121024"/>
              <a:ext cx="1393826" cy="1393826"/>
              <a:chOff x="627255" y="3121024"/>
              <a:chExt cx="1393826" cy="1393826"/>
            </a:xfrm>
          </p:grpSpPr>
          <p:sp>
            <p:nvSpPr>
              <p:cNvPr id="270" name="Oval 269">
                <a:extLst>
                  <a:ext uri="{FF2B5EF4-FFF2-40B4-BE49-F238E27FC236}">
                    <a16:creationId xmlns:a16="http://schemas.microsoft.com/office/drawing/2014/main" id="{E76100E7-5029-4655-A396-5D42A65E8DD4}"/>
                  </a:ext>
                </a:extLst>
              </p:cNvPr>
              <p:cNvSpPr/>
              <p:nvPr/>
            </p:nvSpPr>
            <p:spPr>
              <a:xfrm>
                <a:off x="627255" y="3121024"/>
                <a:ext cx="1393826" cy="139382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1" name="Oval 270">
                <a:extLst>
                  <a:ext uri="{FF2B5EF4-FFF2-40B4-BE49-F238E27FC236}">
                    <a16:creationId xmlns:a16="http://schemas.microsoft.com/office/drawing/2014/main" id="{EF75AD73-EDA9-48C2-8C20-B8DC1E44AEFB}"/>
                  </a:ext>
                </a:extLst>
              </p:cNvPr>
              <p:cNvSpPr/>
              <p:nvPr/>
            </p:nvSpPr>
            <p:spPr>
              <a:xfrm>
                <a:off x="1188950" y="3524448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2" name="Oval 271">
                <a:extLst>
                  <a:ext uri="{FF2B5EF4-FFF2-40B4-BE49-F238E27FC236}">
                    <a16:creationId xmlns:a16="http://schemas.microsoft.com/office/drawing/2014/main" id="{DBC812EC-9B64-4D4F-8D79-37F5860D477D}"/>
                  </a:ext>
                </a:extLst>
              </p:cNvPr>
              <p:cNvSpPr/>
              <p:nvPr/>
            </p:nvSpPr>
            <p:spPr>
              <a:xfrm>
                <a:off x="844395" y="3395380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3" name="Oval 272">
                <a:extLst>
                  <a:ext uri="{FF2B5EF4-FFF2-40B4-BE49-F238E27FC236}">
                    <a16:creationId xmlns:a16="http://schemas.microsoft.com/office/drawing/2014/main" id="{93641148-3CDA-4CFD-938E-68209E0A7D8E}"/>
                  </a:ext>
                </a:extLst>
              </p:cNvPr>
              <p:cNvSpPr/>
              <p:nvPr/>
            </p:nvSpPr>
            <p:spPr>
              <a:xfrm>
                <a:off x="807883" y="3592830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4" name="Oval 273">
                <a:extLst>
                  <a:ext uri="{FF2B5EF4-FFF2-40B4-BE49-F238E27FC236}">
                    <a16:creationId xmlns:a16="http://schemas.microsoft.com/office/drawing/2014/main" id="{CA0317E5-CA23-460F-8C9C-0B3399340F76}"/>
                  </a:ext>
                </a:extLst>
              </p:cNvPr>
              <p:cNvSpPr/>
              <p:nvPr/>
            </p:nvSpPr>
            <p:spPr>
              <a:xfrm>
                <a:off x="699933" y="3756686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5" name="Oval 274">
                <a:extLst>
                  <a:ext uri="{FF2B5EF4-FFF2-40B4-BE49-F238E27FC236}">
                    <a16:creationId xmlns:a16="http://schemas.microsoft.com/office/drawing/2014/main" id="{D81271E5-02EB-4AF6-9DFC-A82FB0F9B8BE}"/>
                  </a:ext>
                </a:extLst>
              </p:cNvPr>
              <p:cNvSpPr/>
              <p:nvPr/>
            </p:nvSpPr>
            <p:spPr>
              <a:xfrm>
                <a:off x="763433" y="3968215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6" name="Oval 275">
                <a:extLst>
                  <a:ext uri="{FF2B5EF4-FFF2-40B4-BE49-F238E27FC236}">
                    <a16:creationId xmlns:a16="http://schemas.microsoft.com/office/drawing/2014/main" id="{A08C530C-4890-420A-AB14-92B74375DFAD}"/>
                  </a:ext>
                </a:extLst>
              </p:cNvPr>
              <p:cNvSpPr/>
              <p:nvPr/>
            </p:nvSpPr>
            <p:spPr>
              <a:xfrm>
                <a:off x="926647" y="3801136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7" name="Oval 276">
                <a:extLst>
                  <a:ext uri="{FF2B5EF4-FFF2-40B4-BE49-F238E27FC236}">
                    <a16:creationId xmlns:a16="http://schemas.microsoft.com/office/drawing/2014/main" id="{EF2EFE21-C026-49B6-A104-C6B2EEB61C56}"/>
                  </a:ext>
                </a:extLst>
              </p:cNvPr>
              <p:cNvSpPr/>
              <p:nvPr/>
            </p:nvSpPr>
            <p:spPr>
              <a:xfrm>
                <a:off x="1046995" y="3524448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8" name="Oval 277">
                <a:extLst>
                  <a:ext uri="{FF2B5EF4-FFF2-40B4-BE49-F238E27FC236}">
                    <a16:creationId xmlns:a16="http://schemas.microsoft.com/office/drawing/2014/main" id="{02A1EECF-4AD0-4F9A-AD7A-868EE75D6EEA}"/>
                  </a:ext>
                </a:extLst>
              </p:cNvPr>
              <p:cNvSpPr/>
              <p:nvPr/>
            </p:nvSpPr>
            <p:spPr>
              <a:xfrm>
                <a:off x="1117636" y="3325013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9" name="Oval 278">
                <a:extLst>
                  <a:ext uri="{FF2B5EF4-FFF2-40B4-BE49-F238E27FC236}">
                    <a16:creationId xmlns:a16="http://schemas.microsoft.com/office/drawing/2014/main" id="{9C334E11-8083-4447-9556-0C35724A234F}"/>
                  </a:ext>
                </a:extLst>
              </p:cNvPr>
              <p:cNvSpPr/>
              <p:nvPr/>
            </p:nvSpPr>
            <p:spPr>
              <a:xfrm>
                <a:off x="1315044" y="3253338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0" name="Oval 279">
                <a:extLst>
                  <a:ext uri="{FF2B5EF4-FFF2-40B4-BE49-F238E27FC236}">
                    <a16:creationId xmlns:a16="http://schemas.microsoft.com/office/drawing/2014/main" id="{707DC183-40F1-42A8-8F4E-BB89AFAE7B4D}"/>
                  </a:ext>
                </a:extLst>
              </p:cNvPr>
              <p:cNvSpPr/>
              <p:nvPr/>
            </p:nvSpPr>
            <p:spPr>
              <a:xfrm>
                <a:off x="1344840" y="3609113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1" name="Oval 280">
                <a:extLst>
                  <a:ext uri="{FF2B5EF4-FFF2-40B4-BE49-F238E27FC236}">
                    <a16:creationId xmlns:a16="http://schemas.microsoft.com/office/drawing/2014/main" id="{DB8DB367-8164-4A1F-A37B-FD73A6D3B8B1}"/>
                  </a:ext>
                </a:extLst>
              </p:cNvPr>
              <p:cNvSpPr/>
              <p:nvPr/>
            </p:nvSpPr>
            <p:spPr>
              <a:xfrm>
                <a:off x="1479777" y="3430822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2" name="Oval 281">
                <a:extLst>
                  <a:ext uri="{FF2B5EF4-FFF2-40B4-BE49-F238E27FC236}">
                    <a16:creationId xmlns:a16="http://schemas.microsoft.com/office/drawing/2014/main" id="{C566D436-33FC-4875-A97E-8DC77E5255D1}"/>
                  </a:ext>
                </a:extLst>
              </p:cNvPr>
              <p:cNvSpPr/>
              <p:nvPr/>
            </p:nvSpPr>
            <p:spPr>
              <a:xfrm>
                <a:off x="1161895" y="3739884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3" name="Oval 282">
                <a:extLst>
                  <a:ext uri="{FF2B5EF4-FFF2-40B4-BE49-F238E27FC236}">
                    <a16:creationId xmlns:a16="http://schemas.microsoft.com/office/drawing/2014/main" id="{30507B66-61E1-4240-8EA9-EDA73B0B06E4}"/>
                  </a:ext>
                </a:extLst>
              </p:cNvPr>
              <p:cNvSpPr/>
              <p:nvPr/>
            </p:nvSpPr>
            <p:spPr>
              <a:xfrm>
                <a:off x="1716721" y="3777451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4" name="Oval 283">
                <a:extLst>
                  <a:ext uri="{FF2B5EF4-FFF2-40B4-BE49-F238E27FC236}">
                    <a16:creationId xmlns:a16="http://schemas.microsoft.com/office/drawing/2014/main" id="{9A89D3D9-63BF-431A-BEEB-B00D4828017A}"/>
                  </a:ext>
                </a:extLst>
              </p:cNvPr>
              <p:cNvSpPr/>
              <p:nvPr/>
            </p:nvSpPr>
            <p:spPr>
              <a:xfrm>
                <a:off x="1716721" y="3966627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5" name="Oval 284">
                <a:extLst>
                  <a:ext uri="{FF2B5EF4-FFF2-40B4-BE49-F238E27FC236}">
                    <a16:creationId xmlns:a16="http://schemas.microsoft.com/office/drawing/2014/main" id="{17E69365-C9F1-4944-804E-209C4EFE6249}"/>
                  </a:ext>
                </a:extLst>
              </p:cNvPr>
              <p:cNvSpPr/>
              <p:nvPr/>
            </p:nvSpPr>
            <p:spPr>
              <a:xfrm>
                <a:off x="1339695" y="3966627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6" name="Oval 285">
                <a:extLst>
                  <a:ext uri="{FF2B5EF4-FFF2-40B4-BE49-F238E27FC236}">
                    <a16:creationId xmlns:a16="http://schemas.microsoft.com/office/drawing/2014/main" id="{C1C05804-7615-45C8-B3D4-860603A1DA3D}"/>
                  </a:ext>
                </a:extLst>
              </p:cNvPr>
              <p:cNvSpPr/>
              <p:nvPr/>
            </p:nvSpPr>
            <p:spPr>
              <a:xfrm>
                <a:off x="1605732" y="4092404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7" name="Oval 286">
                <a:extLst>
                  <a:ext uri="{FF2B5EF4-FFF2-40B4-BE49-F238E27FC236}">
                    <a16:creationId xmlns:a16="http://schemas.microsoft.com/office/drawing/2014/main" id="{83E1C2C0-F966-44B2-B502-4901B26B2DE5}"/>
                  </a:ext>
                </a:extLst>
              </p:cNvPr>
              <p:cNvSpPr/>
              <p:nvPr/>
            </p:nvSpPr>
            <p:spPr>
              <a:xfrm>
                <a:off x="1112273" y="3931299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8" name="Oval 287">
                <a:extLst>
                  <a:ext uri="{FF2B5EF4-FFF2-40B4-BE49-F238E27FC236}">
                    <a16:creationId xmlns:a16="http://schemas.microsoft.com/office/drawing/2014/main" id="{B2869606-6119-4246-809A-44F6CE78F903}"/>
                  </a:ext>
                </a:extLst>
              </p:cNvPr>
              <p:cNvSpPr/>
              <p:nvPr/>
            </p:nvSpPr>
            <p:spPr>
              <a:xfrm>
                <a:off x="1188950" y="4110305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9" name="Oval 288">
                <a:extLst>
                  <a:ext uri="{FF2B5EF4-FFF2-40B4-BE49-F238E27FC236}">
                    <a16:creationId xmlns:a16="http://schemas.microsoft.com/office/drawing/2014/main" id="{F82E4BBF-A633-40E2-A684-93FF80573209}"/>
                  </a:ext>
                </a:extLst>
              </p:cNvPr>
              <p:cNvSpPr/>
              <p:nvPr/>
            </p:nvSpPr>
            <p:spPr>
              <a:xfrm>
                <a:off x="988856" y="4136854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0" name="Oval 289">
                <a:extLst>
                  <a:ext uri="{FF2B5EF4-FFF2-40B4-BE49-F238E27FC236}">
                    <a16:creationId xmlns:a16="http://schemas.microsoft.com/office/drawing/2014/main" id="{9B85A104-4D5B-4FE3-BE95-E3E4A3FB84B5}"/>
                  </a:ext>
                </a:extLst>
              </p:cNvPr>
              <p:cNvSpPr/>
              <p:nvPr/>
            </p:nvSpPr>
            <p:spPr>
              <a:xfrm>
                <a:off x="1468284" y="4212915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1" name="Oval 290">
                <a:extLst>
                  <a:ext uri="{FF2B5EF4-FFF2-40B4-BE49-F238E27FC236}">
                    <a16:creationId xmlns:a16="http://schemas.microsoft.com/office/drawing/2014/main" id="{34E33712-674D-45D8-A840-E8857BE3B09F}"/>
                  </a:ext>
                </a:extLst>
              </p:cNvPr>
              <p:cNvSpPr/>
              <p:nvPr/>
            </p:nvSpPr>
            <p:spPr>
              <a:xfrm>
                <a:off x="1288993" y="4293637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2" name="Oval 291">
                <a:extLst>
                  <a:ext uri="{FF2B5EF4-FFF2-40B4-BE49-F238E27FC236}">
                    <a16:creationId xmlns:a16="http://schemas.microsoft.com/office/drawing/2014/main" id="{44340B4B-B8AA-4597-ABAE-D28D59846895}"/>
                  </a:ext>
                </a:extLst>
              </p:cNvPr>
              <p:cNvSpPr/>
              <p:nvPr/>
            </p:nvSpPr>
            <p:spPr>
              <a:xfrm>
                <a:off x="1770604" y="3434160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3" name="Oval 292">
                <a:extLst>
                  <a:ext uri="{FF2B5EF4-FFF2-40B4-BE49-F238E27FC236}">
                    <a16:creationId xmlns:a16="http://schemas.microsoft.com/office/drawing/2014/main" id="{81242296-DEAE-4573-9055-A24317E4E69F}"/>
                  </a:ext>
                </a:extLst>
              </p:cNvPr>
              <p:cNvSpPr/>
              <p:nvPr/>
            </p:nvSpPr>
            <p:spPr>
              <a:xfrm>
                <a:off x="1568295" y="3623336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4" name="Oval 293">
                <a:extLst>
                  <a:ext uri="{FF2B5EF4-FFF2-40B4-BE49-F238E27FC236}">
                    <a16:creationId xmlns:a16="http://schemas.microsoft.com/office/drawing/2014/main" id="{1F0F753B-1166-43A8-B496-86DD10FFBC28}"/>
                  </a:ext>
                </a:extLst>
              </p:cNvPr>
              <p:cNvSpPr/>
              <p:nvPr/>
            </p:nvSpPr>
            <p:spPr>
              <a:xfrm>
                <a:off x="1497169" y="3817298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5" name="Oval 294">
                <a:extLst>
                  <a:ext uri="{FF2B5EF4-FFF2-40B4-BE49-F238E27FC236}">
                    <a16:creationId xmlns:a16="http://schemas.microsoft.com/office/drawing/2014/main" id="{E2800117-06BE-428A-AB4E-2CED9A979A5E}"/>
                  </a:ext>
                </a:extLst>
              </p:cNvPr>
              <p:cNvSpPr/>
              <p:nvPr/>
            </p:nvSpPr>
            <p:spPr>
              <a:xfrm>
                <a:off x="1859504" y="3656737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6" name="Oval 295">
                <a:extLst>
                  <a:ext uri="{FF2B5EF4-FFF2-40B4-BE49-F238E27FC236}">
                    <a16:creationId xmlns:a16="http://schemas.microsoft.com/office/drawing/2014/main" id="{7AA088C4-F1F3-42C9-A0E7-8BA9961B0B6C}"/>
                  </a:ext>
                </a:extLst>
              </p:cNvPr>
              <p:cNvSpPr/>
              <p:nvPr/>
            </p:nvSpPr>
            <p:spPr>
              <a:xfrm>
                <a:off x="1555711" y="3275826"/>
                <a:ext cx="88900" cy="8890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59" name="Group 258">
              <a:extLst>
                <a:ext uri="{FF2B5EF4-FFF2-40B4-BE49-F238E27FC236}">
                  <a16:creationId xmlns:a16="http://schemas.microsoft.com/office/drawing/2014/main" id="{91EB37F3-0E68-42ED-A435-B94CEC97E5CE}"/>
                </a:ext>
              </a:extLst>
            </p:cNvPr>
            <p:cNvGrpSpPr/>
            <p:nvPr/>
          </p:nvGrpSpPr>
          <p:grpSpPr>
            <a:xfrm>
              <a:off x="2922134" y="3340317"/>
              <a:ext cx="955240" cy="955240"/>
              <a:chOff x="2504473" y="3067760"/>
              <a:chExt cx="1081690" cy="1081690"/>
            </a:xfrm>
          </p:grpSpPr>
          <p:grpSp>
            <p:nvGrpSpPr>
              <p:cNvPr id="261" name="Group 260">
                <a:extLst>
                  <a:ext uri="{FF2B5EF4-FFF2-40B4-BE49-F238E27FC236}">
                    <a16:creationId xmlns:a16="http://schemas.microsoft.com/office/drawing/2014/main" id="{1CA6DF33-CBE5-4119-994C-9722DDA8FBA5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263" name="Diamond 262">
                  <a:extLst>
                    <a:ext uri="{FF2B5EF4-FFF2-40B4-BE49-F238E27FC236}">
                      <a16:creationId xmlns:a16="http://schemas.microsoft.com/office/drawing/2014/main" id="{D07B15B8-F448-4AED-9FA9-D936C293F481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solidFill>
                  <a:schemeClr val="bg1"/>
                </a:solidFill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64" name="Rectangle 263">
                  <a:extLst>
                    <a:ext uri="{FF2B5EF4-FFF2-40B4-BE49-F238E27FC236}">
                      <a16:creationId xmlns:a16="http://schemas.microsoft.com/office/drawing/2014/main" id="{023BE662-5EE6-4786-9BE2-B69A2CA7D3BD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65" name="Rectangle 264">
                  <a:extLst>
                    <a:ext uri="{FF2B5EF4-FFF2-40B4-BE49-F238E27FC236}">
                      <a16:creationId xmlns:a16="http://schemas.microsoft.com/office/drawing/2014/main" id="{7B427423-9741-4A4C-85E4-7FE06BB5977F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66" name="Straight Connector 265">
                  <a:extLst>
                    <a:ext uri="{FF2B5EF4-FFF2-40B4-BE49-F238E27FC236}">
                      <a16:creationId xmlns:a16="http://schemas.microsoft.com/office/drawing/2014/main" id="{BCAE1AAB-535D-4CCF-8D19-0152A106F2C3}"/>
                    </a:ext>
                  </a:extLst>
                </p:cNvPr>
                <p:cNvCxnSpPr>
                  <a:cxnSpLocks/>
                  <a:stCxn id="265" idx="2"/>
                  <a:endCxn id="263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Straight Connector 50">
                  <a:extLst>
                    <a:ext uri="{FF2B5EF4-FFF2-40B4-BE49-F238E27FC236}">
                      <a16:creationId xmlns:a16="http://schemas.microsoft.com/office/drawing/2014/main" id="{02597A16-6413-41BE-9781-125B18F017BD}"/>
                    </a:ext>
                  </a:extLst>
                </p:cNvPr>
                <p:cNvCxnSpPr>
                  <a:cxnSpLocks/>
                  <a:stCxn id="263" idx="1"/>
                  <a:endCxn id="264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Straight Connector 50">
                  <a:extLst>
                    <a:ext uri="{FF2B5EF4-FFF2-40B4-BE49-F238E27FC236}">
                      <a16:creationId xmlns:a16="http://schemas.microsoft.com/office/drawing/2014/main" id="{96B6B148-5E4A-4B7E-A6FC-A1A7CFD61179}"/>
                    </a:ext>
                  </a:extLst>
                </p:cNvPr>
                <p:cNvCxnSpPr>
                  <a:cxnSpLocks/>
                  <a:stCxn id="263" idx="3"/>
                  <a:endCxn id="269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9" name="Rectangle 268">
                  <a:extLst>
                    <a:ext uri="{FF2B5EF4-FFF2-40B4-BE49-F238E27FC236}">
                      <a16:creationId xmlns:a16="http://schemas.microsoft.com/office/drawing/2014/main" id="{72372ED9-214B-4103-92BC-D8FAB23123AE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62" name="Oval 261">
                <a:extLst>
                  <a:ext uri="{FF2B5EF4-FFF2-40B4-BE49-F238E27FC236}">
                    <a16:creationId xmlns:a16="http://schemas.microsoft.com/office/drawing/2014/main" id="{AC194AF0-6849-465B-A203-DF54689B8EDC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260" name="Straight Arrow Connector 259">
              <a:extLst>
                <a:ext uri="{FF2B5EF4-FFF2-40B4-BE49-F238E27FC236}">
                  <a16:creationId xmlns:a16="http://schemas.microsoft.com/office/drawing/2014/main" id="{D139CCD1-A093-4BFD-BE37-403832C3637C}"/>
                </a:ext>
              </a:extLst>
            </p:cNvPr>
            <p:cNvCxnSpPr>
              <a:cxnSpLocks/>
              <a:stCxn id="270" idx="6"/>
              <a:endCxn id="262" idx="2"/>
            </p:cNvCxnSpPr>
            <p:nvPr/>
          </p:nvCxnSpPr>
          <p:spPr>
            <a:xfrm>
              <a:off x="2021081" y="3817937"/>
              <a:ext cx="901053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9" name="Group 298">
            <a:extLst>
              <a:ext uri="{FF2B5EF4-FFF2-40B4-BE49-F238E27FC236}">
                <a16:creationId xmlns:a16="http://schemas.microsoft.com/office/drawing/2014/main" id="{98461BCA-1688-440A-91B3-B1879BA81616}"/>
              </a:ext>
            </a:extLst>
          </p:cNvPr>
          <p:cNvGrpSpPr/>
          <p:nvPr/>
        </p:nvGrpSpPr>
        <p:grpSpPr>
          <a:xfrm>
            <a:off x="4465389" y="3048014"/>
            <a:ext cx="3064998" cy="1314436"/>
            <a:chOff x="4465389" y="1491317"/>
            <a:chExt cx="3064998" cy="1314436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129AFF6A-855C-4ABB-9754-8F565EA1BF83}"/>
                </a:ext>
              </a:extLst>
            </p:cNvPr>
            <p:cNvGrpSpPr/>
            <p:nvPr/>
          </p:nvGrpSpPr>
          <p:grpSpPr>
            <a:xfrm>
              <a:off x="4465389" y="1491317"/>
              <a:ext cx="1314436" cy="1314436"/>
              <a:chOff x="4465389" y="1643717"/>
              <a:chExt cx="1314436" cy="1314436"/>
            </a:xfrm>
          </p:grpSpPr>
          <p:sp>
            <p:nvSpPr>
              <p:cNvPr id="231" name="Oval 230">
                <a:extLst>
                  <a:ext uri="{FF2B5EF4-FFF2-40B4-BE49-F238E27FC236}">
                    <a16:creationId xmlns:a16="http://schemas.microsoft.com/office/drawing/2014/main" id="{58A7FCF1-9912-41FA-AD3D-538A69C40949}"/>
                  </a:ext>
                </a:extLst>
              </p:cNvPr>
              <p:cNvSpPr/>
              <p:nvPr/>
            </p:nvSpPr>
            <p:spPr>
              <a:xfrm>
                <a:off x="4465389" y="164371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2" name="Oval 231">
                <a:extLst>
                  <a:ext uri="{FF2B5EF4-FFF2-40B4-BE49-F238E27FC236}">
                    <a16:creationId xmlns:a16="http://schemas.microsoft.com/office/drawing/2014/main" id="{298B2B94-4182-4A40-8D54-D6F7CE863A3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02416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3" name="Oval 232">
                <a:extLst>
                  <a:ext uri="{FF2B5EF4-FFF2-40B4-BE49-F238E27FC236}">
                    <a16:creationId xmlns:a16="http://schemas.microsoft.com/office/drawing/2014/main" id="{207DF75E-87CE-45DF-BEE7-B09CC6148BD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19024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4" name="Oval 233">
                <a:extLst>
                  <a:ext uri="{FF2B5EF4-FFF2-40B4-BE49-F238E27FC236}">
                    <a16:creationId xmlns:a16="http://schemas.microsoft.com/office/drawing/2014/main" id="{B21E8616-F7C7-4DEF-90D4-59283BB70AB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208865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5" name="Oval 234">
                <a:extLst>
                  <a:ext uri="{FF2B5EF4-FFF2-40B4-BE49-F238E27FC236}">
                    <a16:creationId xmlns:a16="http://schemas.microsoft.com/office/drawing/2014/main" id="{EECE095F-5B04-4944-835F-6A6E0B0BCA8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224317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6" name="Oval 235">
                <a:extLst>
                  <a:ext uri="{FF2B5EF4-FFF2-40B4-BE49-F238E27FC236}">
                    <a16:creationId xmlns:a16="http://schemas.microsoft.com/office/drawing/2014/main" id="{9CA9C063-2D5F-4593-9819-AF3D34EF47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24426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7" name="Oval 236">
                <a:extLst>
                  <a:ext uri="{FF2B5EF4-FFF2-40B4-BE49-F238E27FC236}">
                    <a16:creationId xmlns:a16="http://schemas.microsoft.com/office/drawing/2014/main" id="{1A945DB4-9F35-4135-A762-5233C182313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2285091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8" name="Oval 237">
                <a:extLst>
                  <a:ext uri="{FF2B5EF4-FFF2-40B4-BE49-F238E27FC236}">
                    <a16:creationId xmlns:a16="http://schemas.microsoft.com/office/drawing/2014/main" id="{4EAA0EE5-833A-45AA-882E-739F6290DD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202416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9" name="Oval 238">
                <a:extLst>
                  <a:ext uri="{FF2B5EF4-FFF2-40B4-BE49-F238E27FC236}">
                    <a16:creationId xmlns:a16="http://schemas.microsoft.com/office/drawing/2014/main" id="{72C15B86-6C4D-4304-9986-51DACDE50A2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18360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0" name="Oval 239">
                <a:extLst>
                  <a:ext uri="{FF2B5EF4-FFF2-40B4-BE49-F238E27FC236}">
                    <a16:creationId xmlns:a16="http://schemas.microsoft.com/office/drawing/2014/main" id="{B5274CD7-F83C-4489-8F11-949B586046D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176849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1" name="Oval 240">
                <a:extLst>
                  <a:ext uri="{FF2B5EF4-FFF2-40B4-BE49-F238E27FC236}">
                    <a16:creationId xmlns:a16="http://schemas.microsoft.com/office/drawing/2014/main" id="{D8591EEF-2359-4D7E-9096-91EBD3E3D84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210400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2" name="Oval 241">
                <a:extLst>
                  <a:ext uri="{FF2B5EF4-FFF2-40B4-BE49-F238E27FC236}">
                    <a16:creationId xmlns:a16="http://schemas.microsoft.com/office/drawing/2014/main" id="{A990B3A3-4C28-4EC2-BC14-AC4C056D222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193586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3" name="Oval 242">
                <a:extLst>
                  <a:ext uri="{FF2B5EF4-FFF2-40B4-BE49-F238E27FC236}">
                    <a16:creationId xmlns:a16="http://schemas.microsoft.com/office/drawing/2014/main" id="{77D601AA-A182-40A2-AD70-1A4C2BBC221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222732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4" name="Oval 243">
                <a:extLst>
                  <a:ext uri="{FF2B5EF4-FFF2-40B4-BE49-F238E27FC236}">
                    <a16:creationId xmlns:a16="http://schemas.microsoft.com/office/drawing/2014/main" id="{7EC98BF2-0D60-447B-A25E-BFBF42ED9DF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26275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5" name="Oval 244">
                <a:extLst>
                  <a:ext uri="{FF2B5EF4-FFF2-40B4-BE49-F238E27FC236}">
                    <a16:creationId xmlns:a16="http://schemas.microsoft.com/office/drawing/2014/main" id="{99485AF1-B0AB-4F4C-B6F9-714B79C5E95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44115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6" name="Oval 245">
                <a:extLst>
                  <a:ext uri="{FF2B5EF4-FFF2-40B4-BE49-F238E27FC236}">
                    <a16:creationId xmlns:a16="http://schemas.microsoft.com/office/drawing/2014/main" id="{44A92BCD-D7CC-4823-BE15-36DDE6891B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244115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7" name="Oval 246">
                <a:extLst>
                  <a:ext uri="{FF2B5EF4-FFF2-40B4-BE49-F238E27FC236}">
                    <a16:creationId xmlns:a16="http://schemas.microsoft.com/office/drawing/2014/main" id="{0EA4AD19-C452-46BD-9A1D-A919C6C25DE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255976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8" name="Oval 247">
                <a:extLst>
                  <a:ext uri="{FF2B5EF4-FFF2-40B4-BE49-F238E27FC236}">
                    <a16:creationId xmlns:a16="http://schemas.microsoft.com/office/drawing/2014/main" id="{F092D622-530B-4D5A-8332-8DB30488C95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24078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9" name="Oval 248">
                <a:extLst>
                  <a:ext uri="{FF2B5EF4-FFF2-40B4-BE49-F238E27FC236}">
                    <a16:creationId xmlns:a16="http://schemas.microsoft.com/office/drawing/2014/main" id="{622EE0D6-61E4-4A0A-8C98-BDDCD3FC811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57665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0" name="Oval 249">
                <a:extLst>
                  <a:ext uri="{FF2B5EF4-FFF2-40B4-BE49-F238E27FC236}">
                    <a16:creationId xmlns:a16="http://schemas.microsoft.com/office/drawing/2014/main" id="{C7EC2C1B-6BC4-4EAB-84F5-1355D6055B5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26016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1" name="Oval 250">
                <a:extLst>
                  <a:ext uri="{FF2B5EF4-FFF2-40B4-BE49-F238E27FC236}">
                    <a16:creationId xmlns:a16="http://schemas.microsoft.com/office/drawing/2014/main" id="{2D408CDA-7070-42C0-8F6B-70B9BBA43F5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267341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2" name="Oval 251">
                <a:extLst>
                  <a:ext uri="{FF2B5EF4-FFF2-40B4-BE49-F238E27FC236}">
                    <a16:creationId xmlns:a16="http://schemas.microsoft.com/office/drawing/2014/main" id="{EC00A482-EC05-4DD8-8B34-B54F355DFC2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27495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3" name="Oval 252">
                <a:extLst>
                  <a:ext uri="{FF2B5EF4-FFF2-40B4-BE49-F238E27FC236}">
                    <a16:creationId xmlns:a16="http://schemas.microsoft.com/office/drawing/2014/main" id="{549E2CAA-65E9-4C22-B8FE-E23E154BCD2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19390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9CF7AB66-1CD9-492C-8C4E-EC0DA8B2464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211741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5" name="Oval 254">
                <a:extLst>
                  <a:ext uri="{FF2B5EF4-FFF2-40B4-BE49-F238E27FC236}">
                    <a16:creationId xmlns:a16="http://schemas.microsoft.com/office/drawing/2014/main" id="{A03867E4-E914-4AD2-BACA-D151912AA2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230033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5CDF1C1D-89D1-4593-A163-8489CDBDBD0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21489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7" name="Oval 256">
                <a:extLst>
                  <a:ext uri="{FF2B5EF4-FFF2-40B4-BE49-F238E27FC236}">
                    <a16:creationId xmlns:a16="http://schemas.microsoft.com/office/drawing/2014/main" id="{ABFB22F0-DA76-43F0-87F2-41EED8F6D82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178970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1694225-1950-4CB4-A5CA-37138ABC51EB}"/>
                </a:ext>
              </a:extLst>
            </p:cNvPr>
            <p:cNvGrpSpPr/>
            <p:nvPr/>
          </p:nvGrpSpPr>
          <p:grpSpPr>
            <a:xfrm>
              <a:off x="6629556" y="1698119"/>
              <a:ext cx="900831" cy="900831"/>
              <a:chOff x="2504473" y="3067760"/>
              <a:chExt cx="1081690" cy="1081690"/>
            </a:xfrm>
          </p:grpSpPr>
          <p:grpSp>
            <p:nvGrpSpPr>
              <p:cNvPr id="222" name="Group 221">
                <a:extLst>
                  <a:ext uri="{FF2B5EF4-FFF2-40B4-BE49-F238E27FC236}">
                    <a16:creationId xmlns:a16="http://schemas.microsoft.com/office/drawing/2014/main" id="{34A1DA57-EC00-4A28-8F5D-0E7BB06332F4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224" name="Diamond 223">
                  <a:extLst>
                    <a:ext uri="{FF2B5EF4-FFF2-40B4-BE49-F238E27FC236}">
                      <a16:creationId xmlns:a16="http://schemas.microsoft.com/office/drawing/2014/main" id="{F14F4B76-68CB-41A1-B540-5B08B6727BB4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Rectangle 224">
                  <a:extLst>
                    <a:ext uri="{FF2B5EF4-FFF2-40B4-BE49-F238E27FC236}">
                      <a16:creationId xmlns:a16="http://schemas.microsoft.com/office/drawing/2014/main" id="{7213F905-522F-47D2-9CD4-F0099599F739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Rectangle 225">
                  <a:extLst>
                    <a:ext uri="{FF2B5EF4-FFF2-40B4-BE49-F238E27FC236}">
                      <a16:creationId xmlns:a16="http://schemas.microsoft.com/office/drawing/2014/main" id="{444E1438-4EA2-4307-8FEB-79F6AFCB3571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27" name="Straight Connector 226">
                  <a:extLst>
                    <a:ext uri="{FF2B5EF4-FFF2-40B4-BE49-F238E27FC236}">
                      <a16:creationId xmlns:a16="http://schemas.microsoft.com/office/drawing/2014/main" id="{C8671A4D-B94F-488B-AC24-70105E5F62DB}"/>
                    </a:ext>
                  </a:extLst>
                </p:cNvPr>
                <p:cNvCxnSpPr>
                  <a:cxnSpLocks/>
                  <a:stCxn id="226" idx="2"/>
                  <a:endCxn id="224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8" name="Straight Connector 50">
                  <a:extLst>
                    <a:ext uri="{FF2B5EF4-FFF2-40B4-BE49-F238E27FC236}">
                      <a16:creationId xmlns:a16="http://schemas.microsoft.com/office/drawing/2014/main" id="{5059AB2D-8F07-4C7A-87B2-BAD6BA34EA53}"/>
                    </a:ext>
                  </a:extLst>
                </p:cNvPr>
                <p:cNvCxnSpPr>
                  <a:cxnSpLocks/>
                  <a:stCxn id="224" idx="1"/>
                  <a:endCxn id="225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9" name="Straight Connector 50">
                  <a:extLst>
                    <a:ext uri="{FF2B5EF4-FFF2-40B4-BE49-F238E27FC236}">
                      <a16:creationId xmlns:a16="http://schemas.microsoft.com/office/drawing/2014/main" id="{F8E7F57B-5902-4822-8A0B-8AEA83B458B9}"/>
                    </a:ext>
                  </a:extLst>
                </p:cNvPr>
                <p:cNvCxnSpPr>
                  <a:cxnSpLocks/>
                  <a:stCxn id="224" idx="3"/>
                  <a:endCxn id="230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0" name="Rectangle 229">
                  <a:extLst>
                    <a:ext uri="{FF2B5EF4-FFF2-40B4-BE49-F238E27FC236}">
                      <a16:creationId xmlns:a16="http://schemas.microsoft.com/office/drawing/2014/main" id="{8AE501B4-FF4E-4074-B44D-3D5F4E6E39A1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C25A9A82-6048-4FF5-B34F-41B7930CCDC6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6C998600-68B6-46A5-8227-E82557F14616}"/>
                </a:ext>
              </a:extLst>
            </p:cNvPr>
            <p:cNvCxnSpPr>
              <a:cxnSpLocks/>
              <a:stCxn id="231" idx="6"/>
              <a:endCxn id="223" idx="2"/>
            </p:cNvCxnSpPr>
            <p:nvPr/>
          </p:nvCxnSpPr>
          <p:spPr>
            <a:xfrm>
              <a:off x="5779825" y="214853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7927505D-89C3-4016-91CC-AAF4F6B22885}"/>
              </a:ext>
            </a:extLst>
          </p:cNvPr>
          <p:cNvSpPr txBox="1"/>
          <p:nvPr/>
        </p:nvSpPr>
        <p:spPr>
          <a:xfrm>
            <a:off x="1519467" y="5767444"/>
            <a:ext cx="1823833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 &amp; kee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1A25367-C564-466E-B783-95E82D76143F}"/>
              </a:ext>
            </a:extLst>
          </p:cNvPr>
          <p:cNvSpPr txBox="1"/>
          <p:nvPr/>
        </p:nvSpPr>
        <p:spPr>
          <a:xfrm>
            <a:off x="5083054" y="5767444"/>
            <a:ext cx="1829668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 &amp; keep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C3D1C3C-AF08-4E7D-8FCD-A1B3903BB10C}"/>
              </a:ext>
            </a:extLst>
          </p:cNvPr>
          <p:cNvSpPr txBox="1"/>
          <p:nvPr/>
        </p:nvSpPr>
        <p:spPr>
          <a:xfrm>
            <a:off x="8578060" y="5767444"/>
            <a:ext cx="2360262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 &amp; evaluate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48DB2B7-1853-49E0-BA50-E96D22E5BF0F}"/>
              </a:ext>
            </a:extLst>
          </p:cNvPr>
          <p:cNvGrpSpPr/>
          <p:nvPr/>
        </p:nvGrpSpPr>
        <p:grpSpPr>
          <a:xfrm>
            <a:off x="8208833" y="1491317"/>
            <a:ext cx="1314436" cy="1314436"/>
            <a:chOff x="4465389" y="1643717"/>
            <a:chExt cx="1314436" cy="1314436"/>
          </a:xfrm>
        </p:grpSpPr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A91ADE2D-0C02-4415-895F-85A859BEF052}"/>
                </a:ext>
              </a:extLst>
            </p:cNvPr>
            <p:cNvSpPr/>
            <p:nvPr/>
          </p:nvSpPr>
          <p:spPr>
            <a:xfrm>
              <a:off x="4465389" y="1643717"/>
              <a:ext cx="1314436" cy="1314436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8D6D7671-C76C-45A4-9C72-57050363855B}"/>
                </a:ext>
              </a:extLst>
            </p:cNvPr>
            <p:cNvSpPr>
              <a:spLocks/>
            </p:cNvSpPr>
            <p:nvPr/>
          </p:nvSpPr>
          <p:spPr>
            <a:xfrm>
              <a:off x="4995091" y="2024163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8B97234C-3E2A-416D-981B-767A66C9580D}"/>
                </a:ext>
              </a:extLst>
            </p:cNvPr>
            <p:cNvSpPr>
              <a:spLocks/>
            </p:cNvSpPr>
            <p:nvPr/>
          </p:nvSpPr>
          <p:spPr>
            <a:xfrm>
              <a:off x="4670161" y="1902446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A9196D10-A06E-4D9C-BA7E-F0578EFAF579}"/>
                </a:ext>
              </a:extLst>
            </p:cNvPr>
            <p:cNvSpPr>
              <a:spLocks/>
            </p:cNvSpPr>
            <p:nvPr/>
          </p:nvSpPr>
          <p:spPr>
            <a:xfrm>
              <a:off x="4618030" y="2070951"/>
              <a:ext cx="119234" cy="11923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491D03B4-9F5D-4CC9-9DB1-42BA3C11AFD9}"/>
                </a:ext>
              </a:extLst>
            </p:cNvPr>
            <p:cNvSpPr>
              <a:spLocks/>
            </p:cNvSpPr>
            <p:nvPr/>
          </p:nvSpPr>
          <p:spPr>
            <a:xfrm>
              <a:off x="4533927" y="2243173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8" name="Oval 127">
              <a:extLst>
                <a:ext uri="{FF2B5EF4-FFF2-40B4-BE49-F238E27FC236}">
                  <a16:creationId xmlns:a16="http://schemas.microsoft.com/office/drawing/2014/main" id="{E43D1679-3868-41EB-984D-73B3B78F2493}"/>
                </a:ext>
              </a:extLst>
            </p:cNvPr>
            <p:cNvSpPr>
              <a:spLocks/>
            </p:cNvSpPr>
            <p:nvPr/>
          </p:nvSpPr>
          <p:spPr>
            <a:xfrm>
              <a:off x="4593811" y="2442653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A41B8315-DF66-499D-BDB5-BD4617594CC6}"/>
                </a:ext>
              </a:extLst>
            </p:cNvPr>
            <p:cNvSpPr>
              <a:spLocks/>
            </p:cNvSpPr>
            <p:nvPr/>
          </p:nvSpPr>
          <p:spPr>
            <a:xfrm>
              <a:off x="4730029" y="2267392"/>
              <a:ext cx="119234" cy="11923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164A0064-B7F1-4655-A372-DDBEA20CAADD}"/>
                </a:ext>
              </a:extLst>
            </p:cNvPr>
            <p:cNvSpPr>
              <a:spLocks/>
            </p:cNvSpPr>
            <p:nvPr/>
          </p:nvSpPr>
          <p:spPr>
            <a:xfrm>
              <a:off x="4861221" y="2024163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BC160531-4536-4341-89EA-94C286CA6C74}"/>
                </a:ext>
              </a:extLst>
            </p:cNvPr>
            <p:cNvSpPr>
              <a:spLocks/>
            </p:cNvSpPr>
            <p:nvPr/>
          </p:nvSpPr>
          <p:spPr>
            <a:xfrm>
              <a:off x="4927839" y="1836087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01D0EBB5-8036-448E-A13E-0A7711ACCCC5}"/>
                </a:ext>
              </a:extLst>
            </p:cNvPr>
            <p:cNvSpPr>
              <a:spLocks/>
            </p:cNvSpPr>
            <p:nvPr/>
          </p:nvSpPr>
          <p:spPr>
            <a:xfrm>
              <a:off x="5114003" y="1768495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938B4D46-80B9-461A-A1BB-9205DED43906}"/>
                </a:ext>
              </a:extLst>
            </p:cNvPr>
            <p:cNvSpPr>
              <a:spLocks/>
            </p:cNvSpPr>
            <p:nvPr/>
          </p:nvSpPr>
          <p:spPr>
            <a:xfrm>
              <a:off x="5142102" y="2104005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25745E68-DA05-4422-AA62-DAD0BCA6209A}"/>
                </a:ext>
              </a:extLst>
            </p:cNvPr>
            <p:cNvSpPr>
              <a:spLocks/>
            </p:cNvSpPr>
            <p:nvPr/>
          </p:nvSpPr>
          <p:spPr>
            <a:xfrm>
              <a:off x="5251654" y="1918170"/>
              <a:ext cx="119234" cy="11923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8F7FD964-0615-4113-9012-1DDA99FCD677}"/>
                </a:ext>
              </a:extLst>
            </p:cNvPr>
            <p:cNvSpPr>
              <a:spLocks/>
            </p:cNvSpPr>
            <p:nvPr/>
          </p:nvSpPr>
          <p:spPr>
            <a:xfrm>
              <a:off x="4951878" y="2209629"/>
              <a:ext cx="119234" cy="11923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330C98D7-3AAC-4FFB-94BC-1A4EBA87A141}"/>
                </a:ext>
              </a:extLst>
            </p:cNvPr>
            <p:cNvSpPr>
              <a:spLocks/>
            </p:cNvSpPr>
            <p:nvPr/>
          </p:nvSpPr>
          <p:spPr>
            <a:xfrm>
              <a:off x="5492801" y="2262755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7" name="Oval 136">
              <a:extLst>
                <a:ext uri="{FF2B5EF4-FFF2-40B4-BE49-F238E27FC236}">
                  <a16:creationId xmlns:a16="http://schemas.microsoft.com/office/drawing/2014/main" id="{65D1AED5-BDB0-434F-AC61-C4E725FCFEEF}"/>
                </a:ext>
              </a:extLst>
            </p:cNvPr>
            <p:cNvSpPr>
              <a:spLocks/>
            </p:cNvSpPr>
            <p:nvPr/>
          </p:nvSpPr>
          <p:spPr>
            <a:xfrm>
              <a:off x="5492801" y="2441156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F87F55DD-FFD8-48A1-ACAF-1CA56DC24910}"/>
                </a:ext>
              </a:extLst>
            </p:cNvPr>
            <p:cNvSpPr>
              <a:spLocks/>
            </p:cNvSpPr>
            <p:nvPr/>
          </p:nvSpPr>
          <p:spPr>
            <a:xfrm>
              <a:off x="5137250" y="2441156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CC9F79A3-23F0-4891-A41E-7F25530B753F}"/>
                </a:ext>
              </a:extLst>
            </p:cNvPr>
            <p:cNvSpPr>
              <a:spLocks/>
            </p:cNvSpPr>
            <p:nvPr/>
          </p:nvSpPr>
          <p:spPr>
            <a:xfrm>
              <a:off x="5388134" y="2559769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C6A1E00C-969E-4DDC-9E29-8C8ADA88A59A}"/>
                </a:ext>
              </a:extLst>
            </p:cNvPr>
            <p:cNvSpPr>
              <a:spLocks/>
            </p:cNvSpPr>
            <p:nvPr/>
          </p:nvSpPr>
          <p:spPr>
            <a:xfrm>
              <a:off x="4922781" y="2407840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641EF111-CD0D-4A4E-8CCC-932C71A647C9}"/>
                </a:ext>
              </a:extLst>
            </p:cNvPr>
            <p:cNvSpPr>
              <a:spLocks/>
            </p:cNvSpPr>
            <p:nvPr/>
          </p:nvSpPr>
          <p:spPr>
            <a:xfrm>
              <a:off x="4995091" y="2576650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FA3D3F44-8627-4660-8F41-9EA06E2BDBE4}"/>
                </a:ext>
              </a:extLst>
            </p:cNvPr>
            <p:cNvSpPr>
              <a:spLocks/>
            </p:cNvSpPr>
            <p:nvPr/>
          </p:nvSpPr>
          <p:spPr>
            <a:xfrm>
              <a:off x="4806394" y="2601687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97CD3F5D-1C2E-4285-9AEA-3039C4EAF5AE}"/>
                </a:ext>
              </a:extLst>
            </p:cNvPr>
            <p:cNvSpPr>
              <a:spLocks/>
            </p:cNvSpPr>
            <p:nvPr/>
          </p:nvSpPr>
          <p:spPr>
            <a:xfrm>
              <a:off x="5258514" y="2673416"/>
              <a:ext cx="83836" cy="83836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58FF2A0C-6ECE-45D6-85F8-4904F36FD357}"/>
                </a:ext>
              </a:extLst>
            </p:cNvPr>
            <p:cNvSpPr>
              <a:spLocks/>
            </p:cNvSpPr>
            <p:nvPr/>
          </p:nvSpPr>
          <p:spPr>
            <a:xfrm>
              <a:off x="5089436" y="2749540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4501EF13-D6CF-4837-B328-D1DC26DF9AF2}"/>
                </a:ext>
              </a:extLst>
            </p:cNvPr>
            <p:cNvSpPr>
              <a:spLocks/>
            </p:cNvSpPr>
            <p:nvPr/>
          </p:nvSpPr>
          <p:spPr>
            <a:xfrm>
              <a:off x="5543615" y="1939017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04B5531A-A8F6-468E-BA96-371F450A9E39}"/>
                </a:ext>
              </a:extLst>
            </p:cNvPr>
            <p:cNvSpPr>
              <a:spLocks/>
            </p:cNvSpPr>
            <p:nvPr/>
          </p:nvSpPr>
          <p:spPr>
            <a:xfrm>
              <a:off x="5352829" y="2117418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5A2A3B70-E806-44E6-8341-E3D90774FB02}"/>
                </a:ext>
              </a:extLst>
            </p:cNvPr>
            <p:cNvSpPr>
              <a:spLocks/>
            </p:cNvSpPr>
            <p:nvPr/>
          </p:nvSpPr>
          <p:spPr>
            <a:xfrm>
              <a:off x="5285754" y="2300332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E151B06B-D5BC-4120-B4F8-3A3C5CAC0AAA}"/>
                </a:ext>
              </a:extLst>
            </p:cNvPr>
            <p:cNvSpPr>
              <a:spLocks/>
            </p:cNvSpPr>
            <p:nvPr/>
          </p:nvSpPr>
          <p:spPr>
            <a:xfrm>
              <a:off x="5627451" y="2148917"/>
              <a:ext cx="83836" cy="8383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DFB124FF-F1C0-43AA-890B-C90EA4BE00BF}"/>
                </a:ext>
              </a:extLst>
            </p:cNvPr>
            <p:cNvSpPr>
              <a:spLocks/>
            </p:cNvSpPr>
            <p:nvPr/>
          </p:nvSpPr>
          <p:spPr>
            <a:xfrm>
              <a:off x="5323263" y="1772003"/>
              <a:ext cx="119234" cy="11923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122CEFB-0450-49EF-9928-3FF185857AC6}"/>
              </a:ext>
            </a:extLst>
          </p:cNvPr>
          <p:cNvGrpSpPr/>
          <p:nvPr/>
        </p:nvGrpSpPr>
        <p:grpSpPr>
          <a:xfrm>
            <a:off x="10373000" y="1698119"/>
            <a:ext cx="900831" cy="900831"/>
            <a:chOff x="2504473" y="3067760"/>
            <a:chExt cx="1081690" cy="1081690"/>
          </a:xfrm>
        </p:grpSpPr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9188A81F-629A-45DC-A59B-A5A54A46B5CA}"/>
                </a:ext>
              </a:extLst>
            </p:cNvPr>
            <p:cNvGrpSpPr/>
            <p:nvPr/>
          </p:nvGrpSpPr>
          <p:grpSpPr>
            <a:xfrm>
              <a:off x="2807086" y="3164143"/>
              <a:ext cx="476464" cy="888924"/>
              <a:chOff x="2689246" y="2890507"/>
              <a:chExt cx="800100" cy="1492719"/>
            </a:xfrm>
          </p:grpSpPr>
          <p:sp>
            <p:nvSpPr>
              <p:cNvPr id="116" name="Diamond 115">
                <a:extLst>
                  <a:ext uri="{FF2B5EF4-FFF2-40B4-BE49-F238E27FC236}">
                    <a16:creationId xmlns:a16="http://schemas.microsoft.com/office/drawing/2014/main" id="{CBA328B1-B7F9-4F03-ADCB-735DB748739E}"/>
                  </a:ext>
                </a:extLst>
              </p:cNvPr>
              <p:cNvSpPr/>
              <p:nvPr/>
            </p:nvSpPr>
            <p:spPr>
              <a:xfrm>
                <a:off x="2689246" y="3083047"/>
                <a:ext cx="800100" cy="457200"/>
              </a:xfrm>
              <a:prstGeom prst="diamond">
                <a:avLst/>
              </a:prstGeom>
              <a:noFill/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7777ECAC-8E4F-4773-AB3E-61A63A12D107}"/>
                  </a:ext>
                </a:extLst>
              </p:cNvPr>
              <p:cNvSpPr/>
              <p:nvPr/>
            </p:nvSpPr>
            <p:spPr>
              <a:xfrm>
                <a:off x="2689246" y="3667786"/>
                <a:ext cx="800100" cy="348747"/>
              </a:xfrm>
              <a:prstGeom prst="rect">
                <a:avLst/>
              </a:prstGeom>
              <a:noFill/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D5BE2E16-F786-49BD-9762-AA18F09F62D4}"/>
                  </a:ext>
                </a:extLst>
              </p:cNvPr>
              <p:cNvSpPr/>
              <p:nvPr/>
            </p:nvSpPr>
            <p:spPr>
              <a:xfrm>
                <a:off x="3043269" y="2890507"/>
                <a:ext cx="92054" cy="65001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339883E7-7161-45CD-BEFF-0053C0480CD0}"/>
                  </a:ext>
                </a:extLst>
              </p:cNvPr>
              <p:cNvCxnSpPr>
                <a:cxnSpLocks/>
                <a:stCxn id="118" idx="2"/>
                <a:endCxn id="116" idx="0"/>
              </p:cNvCxnSpPr>
              <p:nvPr/>
            </p:nvCxnSpPr>
            <p:spPr>
              <a:xfrm>
                <a:off x="3089296" y="2955508"/>
                <a:ext cx="0" cy="127539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50">
                <a:extLst>
                  <a:ext uri="{FF2B5EF4-FFF2-40B4-BE49-F238E27FC236}">
                    <a16:creationId xmlns:a16="http://schemas.microsoft.com/office/drawing/2014/main" id="{50007CA5-BE84-4E47-BFF9-AA209B98CF6E}"/>
                  </a:ext>
                </a:extLst>
              </p:cNvPr>
              <p:cNvCxnSpPr>
                <a:cxnSpLocks/>
                <a:stCxn id="116" idx="1"/>
                <a:endCxn id="117" idx="1"/>
              </p:cNvCxnSpPr>
              <p:nvPr/>
            </p:nvCxnSpPr>
            <p:spPr>
              <a:xfrm rot="10800000" flipV="1">
                <a:off x="2689246" y="3311646"/>
                <a:ext cx="12700" cy="530513"/>
              </a:xfrm>
              <a:prstGeom prst="bentConnector3">
                <a:avLst>
                  <a:gd name="adj1" fmla="val 1800000"/>
                </a:avLst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50">
                <a:extLst>
                  <a:ext uri="{FF2B5EF4-FFF2-40B4-BE49-F238E27FC236}">
                    <a16:creationId xmlns:a16="http://schemas.microsoft.com/office/drawing/2014/main" id="{70CE8297-7AEC-4D05-A327-D8C84E21D336}"/>
                  </a:ext>
                </a:extLst>
              </p:cNvPr>
              <p:cNvCxnSpPr>
                <a:cxnSpLocks/>
                <a:stCxn id="116" idx="3"/>
                <a:endCxn id="122" idx="0"/>
              </p:cNvCxnSpPr>
              <p:nvPr/>
            </p:nvCxnSpPr>
            <p:spPr>
              <a:xfrm flipH="1">
                <a:off x="3089298" y="3311648"/>
                <a:ext cx="400048" cy="1006577"/>
              </a:xfrm>
              <a:prstGeom prst="bentConnector4">
                <a:avLst>
                  <a:gd name="adj1" fmla="val -42647"/>
                  <a:gd name="adj2" fmla="val 77775"/>
                </a:avLst>
              </a:prstGeom>
              <a:ln>
                <a:solidFill>
                  <a:schemeClr val="accent2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39CC547F-C0F6-46FB-B313-024AC7A99977}"/>
                  </a:ext>
                </a:extLst>
              </p:cNvPr>
              <p:cNvSpPr/>
              <p:nvPr/>
            </p:nvSpPr>
            <p:spPr>
              <a:xfrm>
                <a:off x="3043270" y="4318224"/>
                <a:ext cx="92055" cy="65002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85E76F3F-CEEB-42C2-B183-6BBFE3DBE08D}"/>
                </a:ext>
              </a:extLst>
            </p:cNvPr>
            <p:cNvSpPr/>
            <p:nvPr/>
          </p:nvSpPr>
          <p:spPr>
            <a:xfrm>
              <a:off x="2504473" y="3067760"/>
              <a:ext cx="1081690" cy="1081690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8F404E8B-1AA4-42D8-86A6-8F50D94FE9B1}"/>
              </a:ext>
            </a:extLst>
          </p:cNvPr>
          <p:cNvCxnSpPr>
            <a:cxnSpLocks/>
            <a:stCxn id="123" idx="6"/>
            <a:endCxn id="115" idx="2"/>
          </p:cNvCxnSpPr>
          <p:nvPr/>
        </p:nvCxnSpPr>
        <p:spPr>
          <a:xfrm>
            <a:off x="9523269" y="2148535"/>
            <a:ext cx="849731" cy="0"/>
          </a:xfrm>
          <a:prstGeom prst="straightConnector1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891CD3A3-98BB-4CE3-9969-C083355A6256}"/>
              </a:ext>
            </a:extLst>
          </p:cNvPr>
          <p:cNvCxnSpPr>
            <a:cxnSpLocks/>
            <a:stCxn id="304" idx="1"/>
            <a:endCxn id="306" idx="0"/>
          </p:cNvCxnSpPr>
          <p:nvPr/>
        </p:nvCxnSpPr>
        <p:spPr>
          <a:xfrm flipH="1">
            <a:off x="8569514" y="3300736"/>
            <a:ext cx="1837866" cy="1478897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7" name="TextBox 296">
            <a:extLst>
              <a:ext uri="{FF2B5EF4-FFF2-40B4-BE49-F238E27FC236}">
                <a16:creationId xmlns:a16="http://schemas.microsoft.com/office/drawing/2014/main" id="{C62F356A-7426-4956-978B-95B8206167D7}"/>
              </a:ext>
            </a:extLst>
          </p:cNvPr>
          <p:cNvSpPr txBox="1"/>
          <p:nvPr/>
        </p:nvSpPr>
        <p:spPr>
          <a:xfrm>
            <a:off x="2225853" y="3350404"/>
            <a:ext cx="458844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</a:t>
            </a:r>
          </a:p>
        </p:txBody>
      </p:sp>
      <p:sp>
        <p:nvSpPr>
          <p:cNvPr id="298" name="TextBox 297">
            <a:extLst>
              <a:ext uri="{FF2B5EF4-FFF2-40B4-BE49-F238E27FC236}">
                <a16:creationId xmlns:a16="http://schemas.microsoft.com/office/drawing/2014/main" id="{966A239D-A70C-4114-AB48-92C4BD70EB56}"/>
              </a:ext>
            </a:extLst>
          </p:cNvPr>
          <p:cNvSpPr txBox="1"/>
          <p:nvPr/>
        </p:nvSpPr>
        <p:spPr>
          <a:xfrm>
            <a:off x="3172501" y="4189999"/>
            <a:ext cx="47769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ep</a:t>
            </a:r>
          </a:p>
        </p:txBody>
      </p:sp>
      <p:sp>
        <p:nvSpPr>
          <p:cNvPr id="300" name="TextBox 299">
            <a:extLst>
              <a:ext uri="{FF2B5EF4-FFF2-40B4-BE49-F238E27FC236}">
                <a16:creationId xmlns:a16="http://schemas.microsoft.com/office/drawing/2014/main" id="{25F4339B-3E98-4920-A840-AC13A6FB31E6}"/>
              </a:ext>
            </a:extLst>
          </p:cNvPr>
          <p:cNvSpPr txBox="1"/>
          <p:nvPr/>
        </p:nvSpPr>
        <p:spPr>
          <a:xfrm>
            <a:off x="5947834" y="3350404"/>
            <a:ext cx="458844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</a:t>
            </a:r>
          </a:p>
        </p:txBody>
      </p:sp>
      <p:sp>
        <p:nvSpPr>
          <p:cNvPr id="301" name="TextBox 300">
            <a:extLst>
              <a:ext uri="{FF2B5EF4-FFF2-40B4-BE49-F238E27FC236}">
                <a16:creationId xmlns:a16="http://schemas.microsoft.com/office/drawing/2014/main" id="{80EC4680-08F1-424F-B3CF-2ABA2577D93B}"/>
              </a:ext>
            </a:extLst>
          </p:cNvPr>
          <p:cNvSpPr txBox="1"/>
          <p:nvPr/>
        </p:nvSpPr>
        <p:spPr>
          <a:xfrm>
            <a:off x="6894482" y="4189999"/>
            <a:ext cx="47769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ep</a:t>
            </a:r>
          </a:p>
        </p:txBody>
      </p:sp>
      <p:sp>
        <p:nvSpPr>
          <p:cNvPr id="302" name="TextBox 301">
            <a:extLst>
              <a:ext uri="{FF2B5EF4-FFF2-40B4-BE49-F238E27FC236}">
                <a16:creationId xmlns:a16="http://schemas.microsoft.com/office/drawing/2014/main" id="{9A3D51AD-8ED5-46B2-A9FB-24850FB8576D}"/>
              </a:ext>
            </a:extLst>
          </p:cNvPr>
          <p:cNvSpPr txBox="1"/>
          <p:nvPr/>
        </p:nvSpPr>
        <p:spPr>
          <a:xfrm>
            <a:off x="10532278" y="2694439"/>
            <a:ext cx="796693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aluate</a:t>
            </a:r>
          </a:p>
        </p:txBody>
      </p:sp>
      <p:sp>
        <p:nvSpPr>
          <p:cNvPr id="303" name="TextBox 302">
            <a:extLst>
              <a:ext uri="{FF2B5EF4-FFF2-40B4-BE49-F238E27FC236}">
                <a16:creationId xmlns:a16="http://schemas.microsoft.com/office/drawing/2014/main" id="{5797EA52-1CBA-4519-80D1-79ED50AFCED8}"/>
              </a:ext>
            </a:extLst>
          </p:cNvPr>
          <p:cNvSpPr txBox="1"/>
          <p:nvPr/>
        </p:nvSpPr>
        <p:spPr>
          <a:xfrm>
            <a:off x="9741343" y="1808458"/>
            <a:ext cx="458844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</a:t>
            </a:r>
          </a:p>
        </p:txBody>
      </p:sp>
      <p:sp>
        <p:nvSpPr>
          <p:cNvPr id="304" name="Flowchart: Decision 303">
            <a:extLst>
              <a:ext uri="{FF2B5EF4-FFF2-40B4-BE49-F238E27FC236}">
                <a16:creationId xmlns:a16="http://schemas.microsoft.com/office/drawing/2014/main" id="{B6E2F5F8-C60E-4C59-9F7B-AEC218EBF68F}"/>
              </a:ext>
            </a:extLst>
          </p:cNvPr>
          <p:cNvSpPr/>
          <p:nvPr/>
        </p:nvSpPr>
        <p:spPr>
          <a:xfrm>
            <a:off x="10407380" y="3060779"/>
            <a:ext cx="866451" cy="479914"/>
          </a:xfrm>
          <a:prstGeom prst="flowChartDecision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ep?</a:t>
            </a:r>
          </a:p>
        </p:txBody>
      </p:sp>
      <p:sp>
        <p:nvSpPr>
          <p:cNvPr id="305" name="TextBox 304">
            <a:extLst>
              <a:ext uri="{FF2B5EF4-FFF2-40B4-BE49-F238E27FC236}">
                <a16:creationId xmlns:a16="http://schemas.microsoft.com/office/drawing/2014/main" id="{55A06C1E-EE7A-43E3-9476-1EE3163E8D1A}"/>
              </a:ext>
            </a:extLst>
          </p:cNvPr>
          <p:cNvSpPr txBox="1"/>
          <p:nvPr/>
        </p:nvSpPr>
        <p:spPr>
          <a:xfrm>
            <a:off x="9302941" y="4170851"/>
            <a:ext cx="107005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t weight for learner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4E8A5491-1E7B-4DFA-9BE0-7802C5EA61CA}"/>
              </a:ext>
            </a:extLst>
          </p:cNvPr>
          <p:cNvSpPr txBox="1"/>
          <p:nvPr/>
        </p:nvSpPr>
        <p:spPr>
          <a:xfrm>
            <a:off x="8143929" y="4779633"/>
            <a:ext cx="851169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pdate samples’ weights</a:t>
            </a:r>
          </a:p>
        </p:txBody>
      </p:sp>
      <p:sp>
        <p:nvSpPr>
          <p:cNvPr id="310" name="TextBox 309">
            <a:extLst>
              <a:ext uri="{FF2B5EF4-FFF2-40B4-BE49-F238E27FC236}">
                <a16:creationId xmlns:a16="http://schemas.microsoft.com/office/drawing/2014/main" id="{E0D806DF-7867-47BA-9414-CCFC1642D24F}"/>
              </a:ext>
            </a:extLst>
          </p:cNvPr>
          <p:cNvSpPr txBox="1"/>
          <p:nvPr/>
        </p:nvSpPr>
        <p:spPr>
          <a:xfrm>
            <a:off x="10360676" y="2984242"/>
            <a:ext cx="136256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</a:t>
            </a:r>
          </a:p>
        </p:txBody>
      </p:sp>
      <p:sp>
        <p:nvSpPr>
          <p:cNvPr id="311" name="TextBox 310">
            <a:extLst>
              <a:ext uri="{FF2B5EF4-FFF2-40B4-BE49-F238E27FC236}">
                <a16:creationId xmlns:a16="http://schemas.microsoft.com/office/drawing/2014/main" id="{9006DD43-7B96-47AC-A633-A6FB93D82127}"/>
              </a:ext>
            </a:extLst>
          </p:cNvPr>
          <p:cNvSpPr txBox="1"/>
          <p:nvPr/>
        </p:nvSpPr>
        <p:spPr>
          <a:xfrm>
            <a:off x="11198415" y="2984242"/>
            <a:ext cx="147476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</a:t>
            </a:r>
          </a:p>
        </p:txBody>
      </p:sp>
      <p:sp>
        <p:nvSpPr>
          <p:cNvPr id="312" name="TextBox 311">
            <a:extLst>
              <a:ext uri="{FF2B5EF4-FFF2-40B4-BE49-F238E27FC236}">
                <a16:creationId xmlns:a16="http://schemas.microsoft.com/office/drawing/2014/main" id="{FD6399FB-7CF7-4262-BA8A-58AFFAF5AA50}"/>
              </a:ext>
            </a:extLst>
          </p:cNvPr>
          <p:cNvSpPr txBox="1"/>
          <p:nvPr/>
        </p:nvSpPr>
        <p:spPr>
          <a:xfrm>
            <a:off x="10710596" y="3609813"/>
            <a:ext cx="763029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peat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13" name="Straight Arrow Connector 312">
            <a:extLst>
              <a:ext uri="{FF2B5EF4-FFF2-40B4-BE49-F238E27FC236}">
                <a16:creationId xmlns:a16="http://schemas.microsoft.com/office/drawing/2014/main" id="{EE0F1B84-7A66-4103-A53C-E82B0F4184CB}"/>
              </a:ext>
            </a:extLst>
          </p:cNvPr>
          <p:cNvCxnSpPr>
            <a:cxnSpLocks/>
            <a:stCxn id="304" idx="3"/>
          </p:cNvCxnSpPr>
          <p:nvPr/>
        </p:nvCxnSpPr>
        <p:spPr>
          <a:xfrm flipV="1">
            <a:off x="11273831" y="3290124"/>
            <a:ext cx="199794" cy="10612"/>
          </a:xfrm>
          <a:prstGeom prst="straightConnector1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ounded Rectangle 149">
            <a:extLst>
              <a:ext uri="{FF2B5EF4-FFF2-40B4-BE49-F238E27FC236}">
                <a16:creationId xmlns:a16="http://schemas.microsoft.com/office/drawing/2014/main" id="{9E133C13-6ED4-E543-A871-B7F57AEA130F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2131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92EA280-2642-4611-AE53-C1052056A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883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92EA280-2642-4611-AE53-C1052056A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95F5CA1-0650-4F33-9612-58FD99CBBFC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5EC48-5F96-504B-AC36-0B8C15D4DD18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Bagging explained</a:t>
            </a:r>
            <a:endParaRPr lang="en-US" dirty="0"/>
          </a:p>
        </p:txBody>
      </p:sp>
      <p:sp>
        <p:nvSpPr>
          <p:cNvPr id="9" name="Flowchart: Magnetic Disk 8">
            <a:extLst>
              <a:ext uri="{FF2B5EF4-FFF2-40B4-BE49-F238E27FC236}">
                <a16:creationId xmlns:a16="http://schemas.microsoft.com/office/drawing/2014/main" id="{EA73768F-833F-4D00-8C6A-D104F7FF482F}"/>
              </a:ext>
            </a:extLst>
          </p:cNvPr>
          <p:cNvSpPr/>
          <p:nvPr/>
        </p:nvSpPr>
        <p:spPr>
          <a:xfrm>
            <a:off x="3361140" y="1577911"/>
            <a:ext cx="2421720" cy="1622552"/>
          </a:xfrm>
          <a:prstGeom prst="flowChartMagneticDisk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lowchart: Magnetic Disk 9">
            <a:extLst>
              <a:ext uri="{FF2B5EF4-FFF2-40B4-BE49-F238E27FC236}">
                <a16:creationId xmlns:a16="http://schemas.microsoft.com/office/drawing/2014/main" id="{4B061468-D57E-4F36-B26D-7350D94A9CB0}"/>
              </a:ext>
            </a:extLst>
          </p:cNvPr>
          <p:cNvSpPr/>
          <p:nvPr/>
        </p:nvSpPr>
        <p:spPr>
          <a:xfrm>
            <a:off x="3361140" y="3521011"/>
            <a:ext cx="2421720" cy="1622552"/>
          </a:xfrm>
          <a:prstGeom prst="flowChartMagneticDisk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lowchart: Magnetic Disk 10">
            <a:extLst>
              <a:ext uri="{FF2B5EF4-FFF2-40B4-BE49-F238E27FC236}">
                <a16:creationId xmlns:a16="http://schemas.microsoft.com/office/drawing/2014/main" id="{F188CE1B-73C3-44C6-B6F3-18661459633A}"/>
              </a:ext>
            </a:extLst>
          </p:cNvPr>
          <p:cNvSpPr/>
          <p:nvPr/>
        </p:nvSpPr>
        <p:spPr>
          <a:xfrm>
            <a:off x="473075" y="3521011"/>
            <a:ext cx="2421720" cy="1622552"/>
          </a:xfrm>
          <a:prstGeom prst="flowChartMagneticDisk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Flowchart: Magnetic Disk 11">
            <a:extLst>
              <a:ext uri="{FF2B5EF4-FFF2-40B4-BE49-F238E27FC236}">
                <a16:creationId xmlns:a16="http://schemas.microsoft.com/office/drawing/2014/main" id="{D75656C9-B50F-4A4B-9A45-3AD340313EC2}"/>
              </a:ext>
            </a:extLst>
          </p:cNvPr>
          <p:cNvSpPr/>
          <p:nvPr/>
        </p:nvSpPr>
        <p:spPr>
          <a:xfrm>
            <a:off x="6244040" y="3521011"/>
            <a:ext cx="2421720" cy="1622552"/>
          </a:xfrm>
          <a:prstGeom prst="flowChartMagneticDisk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2DCDF48-624F-4092-AE57-93A7F68A0A98}"/>
              </a:ext>
            </a:extLst>
          </p:cNvPr>
          <p:cNvSpPr txBox="1"/>
          <p:nvPr/>
        </p:nvSpPr>
        <p:spPr>
          <a:xfrm>
            <a:off x="3789735" y="2157340"/>
            <a:ext cx="1564531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iginal dat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4D89838-102A-42AC-9036-CACAF7EDA040}"/>
              </a:ext>
            </a:extLst>
          </p:cNvPr>
          <p:cNvSpPr txBox="1"/>
          <p:nvPr/>
        </p:nvSpPr>
        <p:spPr>
          <a:xfrm>
            <a:off x="4222546" y="4141078"/>
            <a:ext cx="698909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2F7C95F-8F60-4E94-8F98-9DAFD6E0845D}"/>
              </a:ext>
            </a:extLst>
          </p:cNvPr>
          <p:cNvSpPr txBox="1"/>
          <p:nvPr/>
        </p:nvSpPr>
        <p:spPr>
          <a:xfrm>
            <a:off x="7105446" y="4141078"/>
            <a:ext cx="698909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3862E15-722C-4C58-AA80-C410B6561888}"/>
              </a:ext>
            </a:extLst>
          </p:cNvPr>
          <p:cNvSpPr txBox="1"/>
          <p:nvPr/>
        </p:nvSpPr>
        <p:spPr>
          <a:xfrm>
            <a:off x="1334481" y="4141078"/>
            <a:ext cx="698909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5A9E201-A738-4D9B-ABF7-D394BD22253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844789" y="2239475"/>
            <a:ext cx="2678874" cy="24622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mpling with replacement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ch bag contains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riations of the original datasets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turn this will result in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fferen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rees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2CF165A-B6D0-4D21-BC73-C07EEDAF1374}"/>
              </a:ext>
            </a:extLst>
          </p:cNvPr>
          <p:cNvSpPr/>
          <p:nvPr/>
        </p:nvSpPr>
        <p:spPr>
          <a:xfrm>
            <a:off x="3538505" y="2418835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200697E-9B04-40F6-BB66-23C6D7DC10D1}"/>
              </a:ext>
            </a:extLst>
          </p:cNvPr>
          <p:cNvSpPr/>
          <p:nvPr/>
        </p:nvSpPr>
        <p:spPr>
          <a:xfrm>
            <a:off x="3857548" y="2513115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5407E631-4039-4C7B-B172-C715CC552DAA}"/>
              </a:ext>
            </a:extLst>
          </p:cNvPr>
          <p:cNvSpPr/>
          <p:nvPr/>
        </p:nvSpPr>
        <p:spPr>
          <a:xfrm>
            <a:off x="4176591" y="258103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3BDEF909-8FC4-49C0-8BCA-AE7DA4FB6FB7}"/>
              </a:ext>
            </a:extLst>
          </p:cNvPr>
          <p:cNvSpPr/>
          <p:nvPr/>
        </p:nvSpPr>
        <p:spPr>
          <a:xfrm>
            <a:off x="4495635" y="258103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09B9D0A-0900-439E-A1B0-1B45B5897165}"/>
              </a:ext>
            </a:extLst>
          </p:cNvPr>
          <p:cNvSpPr/>
          <p:nvPr/>
        </p:nvSpPr>
        <p:spPr>
          <a:xfrm>
            <a:off x="4814679" y="258103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B5012D0D-D42E-44F0-BC06-872383045167}"/>
              </a:ext>
            </a:extLst>
          </p:cNvPr>
          <p:cNvSpPr/>
          <p:nvPr/>
        </p:nvSpPr>
        <p:spPr>
          <a:xfrm>
            <a:off x="5133723" y="2513115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305B509-8410-4E0C-A375-346DD675FC4F}"/>
              </a:ext>
            </a:extLst>
          </p:cNvPr>
          <p:cNvSpPr/>
          <p:nvPr/>
        </p:nvSpPr>
        <p:spPr>
          <a:xfrm>
            <a:off x="5452766" y="2418835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55136BF-108B-4CE4-A989-8600E3C2341C}"/>
              </a:ext>
            </a:extLst>
          </p:cNvPr>
          <p:cNvSpPr/>
          <p:nvPr/>
        </p:nvSpPr>
        <p:spPr>
          <a:xfrm>
            <a:off x="3950775" y="2865441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3D76FF39-03F4-459C-BA67-F46F49D8F25C}"/>
              </a:ext>
            </a:extLst>
          </p:cNvPr>
          <p:cNvSpPr/>
          <p:nvPr/>
        </p:nvSpPr>
        <p:spPr>
          <a:xfrm>
            <a:off x="4330072" y="2865441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05B7BA7C-E3FF-423D-B6E8-12247E971CD6}"/>
              </a:ext>
            </a:extLst>
          </p:cNvPr>
          <p:cNvSpPr/>
          <p:nvPr/>
        </p:nvSpPr>
        <p:spPr>
          <a:xfrm>
            <a:off x="4683109" y="2865441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AB06E822-E2A4-4F07-BA0E-A6AD7234FC96}"/>
              </a:ext>
            </a:extLst>
          </p:cNvPr>
          <p:cNvSpPr/>
          <p:nvPr/>
        </p:nvSpPr>
        <p:spPr>
          <a:xfrm>
            <a:off x="3538505" y="432933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143E488-97AB-4000-8043-0DE84638E447}"/>
              </a:ext>
            </a:extLst>
          </p:cNvPr>
          <p:cNvSpPr/>
          <p:nvPr/>
        </p:nvSpPr>
        <p:spPr>
          <a:xfrm>
            <a:off x="4017070" y="442361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308878B-B8BB-4B7B-9DE9-A27F248262C6}"/>
              </a:ext>
            </a:extLst>
          </p:cNvPr>
          <p:cNvSpPr/>
          <p:nvPr/>
        </p:nvSpPr>
        <p:spPr>
          <a:xfrm>
            <a:off x="4495635" y="4491538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BE419A7B-68C3-40E5-BCFF-914346C69665}"/>
              </a:ext>
            </a:extLst>
          </p:cNvPr>
          <p:cNvSpPr/>
          <p:nvPr/>
        </p:nvSpPr>
        <p:spPr>
          <a:xfrm>
            <a:off x="4974200" y="442361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C24E71F-CC87-449B-9E55-23C323ABB409}"/>
              </a:ext>
            </a:extLst>
          </p:cNvPr>
          <p:cNvSpPr/>
          <p:nvPr/>
        </p:nvSpPr>
        <p:spPr>
          <a:xfrm>
            <a:off x="5452766" y="432933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140358B0-28B1-4097-A03B-FE3B04DCFC5F}"/>
              </a:ext>
            </a:extLst>
          </p:cNvPr>
          <p:cNvSpPr/>
          <p:nvPr/>
        </p:nvSpPr>
        <p:spPr>
          <a:xfrm>
            <a:off x="3743533" y="4701688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88A4F204-C349-4137-BB03-F5F9669E74AB}"/>
              </a:ext>
            </a:extLst>
          </p:cNvPr>
          <p:cNvSpPr/>
          <p:nvPr/>
        </p:nvSpPr>
        <p:spPr>
          <a:xfrm>
            <a:off x="4287572" y="4775945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EBDFA156-B27A-4940-9622-846DD6CF3BA2}"/>
              </a:ext>
            </a:extLst>
          </p:cNvPr>
          <p:cNvSpPr/>
          <p:nvPr/>
        </p:nvSpPr>
        <p:spPr>
          <a:xfrm>
            <a:off x="4831611" y="4798742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2C5D01FD-498E-40AC-89F7-78AB1DAC0007}"/>
              </a:ext>
            </a:extLst>
          </p:cNvPr>
          <p:cNvSpPr/>
          <p:nvPr/>
        </p:nvSpPr>
        <p:spPr>
          <a:xfrm>
            <a:off x="5375651" y="4684742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43BE6BEC-F859-4710-90FC-29B6B44500E9}"/>
              </a:ext>
            </a:extLst>
          </p:cNvPr>
          <p:cNvSpPr/>
          <p:nvPr/>
        </p:nvSpPr>
        <p:spPr>
          <a:xfrm>
            <a:off x="615004" y="435791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ADAF8778-B424-4D2C-99E4-8C64815A9463}"/>
              </a:ext>
            </a:extLst>
          </p:cNvPr>
          <p:cNvSpPr/>
          <p:nvPr/>
        </p:nvSpPr>
        <p:spPr>
          <a:xfrm>
            <a:off x="1093569" y="445219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2B64587F-3FFF-4BF2-959F-95619F994834}"/>
              </a:ext>
            </a:extLst>
          </p:cNvPr>
          <p:cNvSpPr/>
          <p:nvPr/>
        </p:nvSpPr>
        <p:spPr>
          <a:xfrm>
            <a:off x="1572134" y="4520113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A8A8E239-BB2A-446A-8860-27B1BEB98AAA}"/>
              </a:ext>
            </a:extLst>
          </p:cNvPr>
          <p:cNvSpPr/>
          <p:nvPr/>
        </p:nvSpPr>
        <p:spPr>
          <a:xfrm>
            <a:off x="2050699" y="445219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B75C9DE-B177-4928-AA7E-93B7CE8CBA66}"/>
              </a:ext>
            </a:extLst>
          </p:cNvPr>
          <p:cNvSpPr/>
          <p:nvPr/>
        </p:nvSpPr>
        <p:spPr>
          <a:xfrm>
            <a:off x="2529265" y="435791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9FA3B25A-DFA1-4C28-A64C-54220FB7DF8D}"/>
              </a:ext>
            </a:extLst>
          </p:cNvPr>
          <p:cNvSpPr/>
          <p:nvPr/>
        </p:nvSpPr>
        <p:spPr>
          <a:xfrm>
            <a:off x="693852" y="467152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0BABB05-EA07-4AE3-BC2D-801AACB37D6A}"/>
              </a:ext>
            </a:extLst>
          </p:cNvPr>
          <p:cNvSpPr/>
          <p:nvPr/>
        </p:nvSpPr>
        <p:spPr>
          <a:xfrm>
            <a:off x="1172417" y="476580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9679B393-C4FF-42BF-8999-C3DD5B3DAD60}"/>
              </a:ext>
            </a:extLst>
          </p:cNvPr>
          <p:cNvSpPr/>
          <p:nvPr/>
        </p:nvSpPr>
        <p:spPr>
          <a:xfrm>
            <a:off x="1650982" y="4833728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25E2420E-D7BA-4905-8FB9-17872209F1C3}"/>
              </a:ext>
            </a:extLst>
          </p:cNvPr>
          <p:cNvSpPr/>
          <p:nvPr/>
        </p:nvSpPr>
        <p:spPr>
          <a:xfrm>
            <a:off x="2129547" y="476580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1F57C99C-1EB0-47BE-9973-20178E7989EB}"/>
              </a:ext>
            </a:extLst>
          </p:cNvPr>
          <p:cNvSpPr/>
          <p:nvPr/>
        </p:nvSpPr>
        <p:spPr>
          <a:xfrm>
            <a:off x="2608113" y="467152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2306AF04-4CFA-48D0-9E94-0FF62894F481}"/>
              </a:ext>
            </a:extLst>
          </p:cNvPr>
          <p:cNvSpPr/>
          <p:nvPr/>
        </p:nvSpPr>
        <p:spPr>
          <a:xfrm>
            <a:off x="6344198" y="435791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97691751-337F-456D-8247-EDDE0BFF28A0}"/>
              </a:ext>
            </a:extLst>
          </p:cNvPr>
          <p:cNvSpPr/>
          <p:nvPr/>
        </p:nvSpPr>
        <p:spPr>
          <a:xfrm>
            <a:off x="6822763" y="445219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E3230A7-4E6C-4317-A6F9-3FED9E076F40}"/>
              </a:ext>
            </a:extLst>
          </p:cNvPr>
          <p:cNvSpPr/>
          <p:nvPr/>
        </p:nvSpPr>
        <p:spPr>
          <a:xfrm>
            <a:off x="7301328" y="4520113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B8548DF2-FC8F-4CF1-B39E-2591805F7218}"/>
              </a:ext>
            </a:extLst>
          </p:cNvPr>
          <p:cNvSpPr/>
          <p:nvPr/>
        </p:nvSpPr>
        <p:spPr>
          <a:xfrm>
            <a:off x="7779893" y="445219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F23221F6-3E7E-4ECF-B23B-89EB512AF947}"/>
              </a:ext>
            </a:extLst>
          </p:cNvPr>
          <p:cNvSpPr/>
          <p:nvPr/>
        </p:nvSpPr>
        <p:spPr>
          <a:xfrm>
            <a:off x="8258459" y="4357914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56355690-AB1E-4167-8459-9E79E100F4A5}"/>
              </a:ext>
            </a:extLst>
          </p:cNvPr>
          <p:cNvSpPr/>
          <p:nvPr/>
        </p:nvSpPr>
        <p:spPr>
          <a:xfrm>
            <a:off x="6423046" y="467152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457C1C9C-652C-4336-AB08-4EBC5C97E6E9}"/>
              </a:ext>
            </a:extLst>
          </p:cNvPr>
          <p:cNvSpPr/>
          <p:nvPr/>
        </p:nvSpPr>
        <p:spPr>
          <a:xfrm>
            <a:off x="6901611" y="476580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8E78FD60-3D61-4D63-9C2F-7624B812E6CC}"/>
              </a:ext>
            </a:extLst>
          </p:cNvPr>
          <p:cNvSpPr/>
          <p:nvPr/>
        </p:nvSpPr>
        <p:spPr>
          <a:xfrm>
            <a:off x="7380176" y="4833728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EC3DA6D8-2332-46C9-9E63-3CD9B97789E7}"/>
              </a:ext>
            </a:extLst>
          </p:cNvPr>
          <p:cNvSpPr/>
          <p:nvPr/>
        </p:nvSpPr>
        <p:spPr>
          <a:xfrm>
            <a:off x="7858741" y="476580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68461D5B-BA87-478E-AE1E-D861F96113E1}"/>
              </a:ext>
            </a:extLst>
          </p:cNvPr>
          <p:cNvSpPr/>
          <p:nvPr/>
        </p:nvSpPr>
        <p:spPr>
          <a:xfrm>
            <a:off x="8337307" y="4671529"/>
            <a:ext cx="241928" cy="241928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1AB1621C-B99A-432A-A2A9-05F78FFE3FAA}"/>
              </a:ext>
            </a:extLst>
          </p:cNvPr>
          <p:cNvCxnSpPr>
            <a:stCxn id="9" idx="3"/>
            <a:endCxn id="11" idx="1"/>
          </p:cNvCxnSpPr>
          <p:nvPr/>
        </p:nvCxnSpPr>
        <p:spPr>
          <a:xfrm rot="5400000">
            <a:off x="2967694" y="1916705"/>
            <a:ext cx="320548" cy="2888065"/>
          </a:xfrm>
          <a:prstGeom prst="bentConnector3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458F91C4-059E-48CE-8B45-ADBA5372974C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 rot="5400000">
            <a:off x="4411726" y="3360737"/>
            <a:ext cx="320548" cy="12700"/>
          </a:xfrm>
          <a:prstGeom prst="bentConnector3">
            <a:avLst>
              <a:gd name="adj1" fmla="val 50000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6788B824-FCD9-4B9E-B7EF-B8C9666975E8}"/>
              </a:ext>
            </a:extLst>
          </p:cNvPr>
          <p:cNvCxnSpPr>
            <a:cxnSpLocks/>
            <a:stCxn id="9" idx="3"/>
            <a:endCxn id="12" idx="1"/>
          </p:cNvCxnSpPr>
          <p:nvPr/>
        </p:nvCxnSpPr>
        <p:spPr>
          <a:xfrm rot="16200000" flipH="1">
            <a:off x="5853176" y="1919287"/>
            <a:ext cx="320548" cy="2882900"/>
          </a:xfrm>
          <a:prstGeom prst="bentConnector3">
            <a:avLst>
              <a:gd name="adj1" fmla="val 50000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26941E7E-052C-C547-B0C5-1117C163A02D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363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8538A40-0969-49C5-BE66-5B3CD97851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907" name="think-cell Slide" r:id="rId7" imgW="353" imgH="353" progId="TCLayout.ActiveDocument.1">
                  <p:embed/>
                </p:oleObj>
              </mc:Choice>
              <mc:Fallback>
                <p:oleObj name="think-cell Slide" r:id="rId7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8538A40-0969-49C5-BE66-5B3CD9785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26F156D-C4BB-4B4C-BAC2-5E65527FC46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72CC70-A86E-FE41-8250-E8819B2FE196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Bagging explained</a:t>
            </a:r>
            <a:endParaRPr lang="en-US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45DD88B6-C494-43BC-A872-BE78E85A3BCD}"/>
              </a:ext>
            </a:extLst>
          </p:cNvPr>
          <p:cNvSpPr>
            <a:spLocks/>
          </p:cNvSpPr>
          <p:nvPr/>
        </p:nvSpPr>
        <p:spPr>
          <a:xfrm>
            <a:off x="475488" y="1105533"/>
            <a:ext cx="7760830" cy="51657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Flowchart: Magnetic Disk 77">
            <a:extLst>
              <a:ext uri="{FF2B5EF4-FFF2-40B4-BE49-F238E27FC236}">
                <a16:creationId xmlns:a16="http://schemas.microsoft.com/office/drawing/2014/main" id="{6D52A552-4D0F-4827-B3AA-6046210C30C7}"/>
              </a:ext>
            </a:extLst>
          </p:cNvPr>
          <p:cNvSpPr/>
          <p:nvPr/>
        </p:nvSpPr>
        <p:spPr>
          <a:xfrm>
            <a:off x="3900226" y="1199197"/>
            <a:ext cx="1051560" cy="906780"/>
          </a:xfrm>
          <a:prstGeom prst="flowChartMagneticDisk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iginal Data</a:t>
            </a:r>
          </a:p>
        </p:txBody>
      </p:sp>
      <p:sp>
        <p:nvSpPr>
          <p:cNvPr id="79" name="Flowchart: Magnetic Disk 78">
            <a:extLst>
              <a:ext uri="{FF2B5EF4-FFF2-40B4-BE49-F238E27FC236}">
                <a16:creationId xmlns:a16="http://schemas.microsoft.com/office/drawing/2014/main" id="{FD7C7745-8D8D-4713-83C1-D135AC6D49EB}"/>
              </a:ext>
            </a:extLst>
          </p:cNvPr>
          <p:cNvSpPr>
            <a:spLocks/>
          </p:cNvSpPr>
          <p:nvPr/>
        </p:nvSpPr>
        <p:spPr>
          <a:xfrm>
            <a:off x="3862299" y="2401092"/>
            <a:ext cx="1127416" cy="885413"/>
          </a:xfrm>
          <a:prstGeom prst="flowChartMagneticDisk">
            <a:avLst/>
          </a:prstGeom>
          <a:solidFill>
            <a:schemeClr val="accent3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2</a:t>
            </a:r>
          </a:p>
        </p:txBody>
      </p:sp>
      <p:sp>
        <p:nvSpPr>
          <p:cNvPr id="80" name="Flowchart: Magnetic Disk 79">
            <a:extLst>
              <a:ext uri="{FF2B5EF4-FFF2-40B4-BE49-F238E27FC236}">
                <a16:creationId xmlns:a16="http://schemas.microsoft.com/office/drawing/2014/main" id="{3F9262A0-E9D5-49D5-A118-C175AB11106F}"/>
              </a:ext>
            </a:extLst>
          </p:cNvPr>
          <p:cNvSpPr>
            <a:spLocks/>
          </p:cNvSpPr>
          <p:nvPr/>
        </p:nvSpPr>
        <p:spPr>
          <a:xfrm>
            <a:off x="1339052" y="2401092"/>
            <a:ext cx="1127416" cy="885413"/>
          </a:xfrm>
          <a:prstGeom prst="flowChartMagneticDisk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1</a:t>
            </a:r>
          </a:p>
        </p:txBody>
      </p:sp>
      <p:sp>
        <p:nvSpPr>
          <p:cNvPr id="81" name="Flowchart: Magnetic Disk 80">
            <a:extLst>
              <a:ext uri="{FF2B5EF4-FFF2-40B4-BE49-F238E27FC236}">
                <a16:creationId xmlns:a16="http://schemas.microsoft.com/office/drawing/2014/main" id="{02B31E43-4830-4FB4-B9EA-4A260E4C5C9B}"/>
              </a:ext>
            </a:extLst>
          </p:cNvPr>
          <p:cNvSpPr>
            <a:spLocks/>
          </p:cNvSpPr>
          <p:nvPr/>
        </p:nvSpPr>
        <p:spPr>
          <a:xfrm>
            <a:off x="6294672" y="2401092"/>
            <a:ext cx="1127416" cy="885413"/>
          </a:xfrm>
          <a:prstGeom prst="flowChartMagneticDisk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 3</a:t>
            </a:r>
          </a:p>
        </p:txBody>
      </p: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6C715D5A-6B29-4F0C-914D-33725412C2B0}"/>
              </a:ext>
            </a:extLst>
          </p:cNvPr>
          <p:cNvCxnSpPr>
            <a:cxnSpLocks/>
            <a:stCxn id="78" idx="3"/>
            <a:endCxn id="80" idx="1"/>
          </p:cNvCxnSpPr>
          <p:nvPr/>
        </p:nvCxnSpPr>
        <p:spPr>
          <a:xfrm rot="5400000">
            <a:off x="3016826" y="991911"/>
            <a:ext cx="295115" cy="2523246"/>
          </a:xfrm>
          <a:prstGeom prst="bentConnector3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nector: Elbow 82">
            <a:extLst>
              <a:ext uri="{FF2B5EF4-FFF2-40B4-BE49-F238E27FC236}">
                <a16:creationId xmlns:a16="http://schemas.microsoft.com/office/drawing/2014/main" id="{0A319664-DBEC-45DE-81CC-A861E0DB9E6A}"/>
              </a:ext>
            </a:extLst>
          </p:cNvPr>
          <p:cNvCxnSpPr>
            <a:cxnSpLocks/>
            <a:stCxn id="78" idx="3"/>
            <a:endCxn id="79" idx="1"/>
          </p:cNvCxnSpPr>
          <p:nvPr/>
        </p:nvCxnSpPr>
        <p:spPr>
          <a:xfrm rot="16200000" flipH="1">
            <a:off x="4278449" y="2253533"/>
            <a:ext cx="295115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02B4C717-0E8B-4225-8052-EE27B6B9F6BF}"/>
              </a:ext>
            </a:extLst>
          </p:cNvPr>
          <p:cNvCxnSpPr>
            <a:cxnSpLocks/>
            <a:stCxn id="78" idx="3"/>
            <a:endCxn id="81" idx="1"/>
          </p:cNvCxnSpPr>
          <p:nvPr/>
        </p:nvCxnSpPr>
        <p:spPr>
          <a:xfrm rot="16200000" flipH="1">
            <a:off x="5494636" y="1037347"/>
            <a:ext cx="295115" cy="2432374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or: Elbow 26">
            <a:extLst>
              <a:ext uri="{FF2B5EF4-FFF2-40B4-BE49-F238E27FC236}">
                <a16:creationId xmlns:a16="http://schemas.microsoft.com/office/drawing/2014/main" id="{76771E07-3F7E-4140-B0BD-880DEFCF42D7}"/>
              </a:ext>
            </a:extLst>
          </p:cNvPr>
          <p:cNvCxnSpPr>
            <a:cxnSpLocks/>
            <a:stCxn id="80" idx="3"/>
            <a:endCxn id="94" idx="0"/>
          </p:cNvCxnSpPr>
          <p:nvPr/>
        </p:nvCxnSpPr>
        <p:spPr>
          <a:xfrm flipH="1">
            <a:off x="1901409" y="3286505"/>
            <a:ext cx="1351" cy="259969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6" name="Group 85">
            <a:extLst>
              <a:ext uri="{FF2B5EF4-FFF2-40B4-BE49-F238E27FC236}">
                <a16:creationId xmlns:a16="http://schemas.microsoft.com/office/drawing/2014/main" id="{414EB66E-445F-48D4-A230-5BF79CEBF167}"/>
              </a:ext>
            </a:extLst>
          </p:cNvPr>
          <p:cNvGrpSpPr/>
          <p:nvPr/>
        </p:nvGrpSpPr>
        <p:grpSpPr>
          <a:xfrm>
            <a:off x="865249" y="3546474"/>
            <a:ext cx="2075022" cy="1064261"/>
            <a:chOff x="2444751" y="3490277"/>
            <a:chExt cx="2075022" cy="1064261"/>
          </a:xfrm>
        </p:grpSpPr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B4281584-81E6-4E32-92D0-6B706C24CB10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D586DFA5-6E18-480B-BF9E-B1F002892E45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5431E5D9-F538-4F1A-B40F-C482226F5AEB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FF6CAC7B-441C-49AB-A2BC-428649FBC8FF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9389E014-65A5-4D5B-B3AD-E57D3CE3D6D7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57B45B78-E40C-42BF-B2C1-82726F81BE34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E86835C4-374A-426B-87AD-B373CA9E3201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DED97A84-DDC8-4C7F-B1E2-8A70D369D242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88" name="Connector: Elbow 87">
              <a:extLst>
                <a:ext uri="{FF2B5EF4-FFF2-40B4-BE49-F238E27FC236}">
                  <a16:creationId xmlns:a16="http://schemas.microsoft.com/office/drawing/2014/main" id="{AE601C7E-514E-4A42-AD23-6083EC893114}"/>
                </a:ext>
              </a:extLst>
            </p:cNvPr>
            <p:cNvCxnSpPr>
              <a:cxnSpLocks/>
              <a:stCxn id="94" idx="4"/>
              <a:endCxn id="95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Connector: Elbow 88">
              <a:extLst>
                <a:ext uri="{FF2B5EF4-FFF2-40B4-BE49-F238E27FC236}">
                  <a16:creationId xmlns:a16="http://schemas.microsoft.com/office/drawing/2014/main" id="{925B72CA-A23B-4D53-B813-7A65D8C0F179}"/>
                </a:ext>
              </a:extLst>
            </p:cNvPr>
            <p:cNvCxnSpPr>
              <a:cxnSpLocks/>
              <a:stCxn id="94" idx="4"/>
              <a:endCxn id="96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Connector: Elbow 89">
              <a:extLst>
                <a:ext uri="{FF2B5EF4-FFF2-40B4-BE49-F238E27FC236}">
                  <a16:creationId xmlns:a16="http://schemas.microsoft.com/office/drawing/2014/main" id="{D00B8F40-5279-496E-B923-795A8D1B5B8A}"/>
                </a:ext>
              </a:extLst>
            </p:cNvPr>
            <p:cNvCxnSpPr>
              <a:cxnSpLocks/>
              <a:stCxn id="96" idx="4"/>
              <a:endCxn id="100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Connector: Elbow 90">
              <a:extLst>
                <a:ext uri="{FF2B5EF4-FFF2-40B4-BE49-F238E27FC236}">
                  <a16:creationId xmlns:a16="http://schemas.microsoft.com/office/drawing/2014/main" id="{0C73138F-4B3B-445E-8BFF-BA7663D8BBFC}"/>
                </a:ext>
              </a:extLst>
            </p:cNvPr>
            <p:cNvCxnSpPr>
              <a:cxnSpLocks/>
              <a:stCxn id="96" idx="4"/>
              <a:endCxn id="99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Connector: Elbow 91">
              <a:extLst>
                <a:ext uri="{FF2B5EF4-FFF2-40B4-BE49-F238E27FC236}">
                  <a16:creationId xmlns:a16="http://schemas.microsoft.com/office/drawing/2014/main" id="{91167C27-5851-4C8D-9C49-961CE282ADFD}"/>
                </a:ext>
              </a:extLst>
            </p:cNvPr>
            <p:cNvCxnSpPr>
              <a:cxnSpLocks/>
              <a:stCxn id="95" idx="4"/>
              <a:endCxn id="98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Connector: Elbow 92">
              <a:extLst>
                <a:ext uri="{FF2B5EF4-FFF2-40B4-BE49-F238E27FC236}">
                  <a16:creationId xmlns:a16="http://schemas.microsoft.com/office/drawing/2014/main" id="{4BD623CD-943B-4863-A694-7B4A8BEB0EBA}"/>
                </a:ext>
              </a:extLst>
            </p:cNvPr>
            <p:cNvCxnSpPr>
              <a:cxnSpLocks/>
              <a:stCxn id="95" idx="4"/>
              <a:endCxn id="97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9FC00CA3-FDD3-4AF1-B6D0-791CF696B012}"/>
              </a:ext>
            </a:extLst>
          </p:cNvPr>
          <p:cNvGrpSpPr/>
          <p:nvPr/>
        </p:nvGrpSpPr>
        <p:grpSpPr>
          <a:xfrm>
            <a:off x="3388496" y="3546474"/>
            <a:ext cx="2075022" cy="1064261"/>
            <a:chOff x="2444751" y="3490277"/>
            <a:chExt cx="2075022" cy="1064261"/>
          </a:xfrm>
        </p:grpSpPr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5F9F3820-7669-416E-A897-871E377DD4C4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FBE25AC8-FDB2-4B8F-B33F-11A74C4E758E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0A5BF456-D268-48FE-BA71-028F0854170B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2920B18F-6BE3-4CF3-911B-F7C7C8FCD2F5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93E1E2FB-F30B-461D-91DA-19013BE79543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55377918-D503-4C93-9842-ED3D1D3ADCBD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5C32791D-E064-4CCD-8725-CC7912C5E394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08183A71-70B7-48FB-9AAF-AA70AF29E69B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103" name="Connector: Elbow 102">
              <a:extLst>
                <a:ext uri="{FF2B5EF4-FFF2-40B4-BE49-F238E27FC236}">
                  <a16:creationId xmlns:a16="http://schemas.microsoft.com/office/drawing/2014/main" id="{AEA256A7-31AC-4E49-AC7E-DAE8EA0D0620}"/>
                </a:ext>
              </a:extLst>
            </p:cNvPr>
            <p:cNvCxnSpPr>
              <a:cxnSpLocks/>
              <a:stCxn id="109" idx="4"/>
              <a:endCxn id="110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Connector: Elbow 103">
              <a:extLst>
                <a:ext uri="{FF2B5EF4-FFF2-40B4-BE49-F238E27FC236}">
                  <a16:creationId xmlns:a16="http://schemas.microsoft.com/office/drawing/2014/main" id="{3BA7C8BC-99E8-49E3-8C5C-85AE6C85672D}"/>
                </a:ext>
              </a:extLst>
            </p:cNvPr>
            <p:cNvCxnSpPr>
              <a:cxnSpLocks/>
              <a:stCxn id="109" idx="4"/>
              <a:endCxn id="111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Connector: Elbow 104">
              <a:extLst>
                <a:ext uri="{FF2B5EF4-FFF2-40B4-BE49-F238E27FC236}">
                  <a16:creationId xmlns:a16="http://schemas.microsoft.com/office/drawing/2014/main" id="{0ED42C9E-EF62-4793-B462-B64F05E35F0A}"/>
                </a:ext>
              </a:extLst>
            </p:cNvPr>
            <p:cNvCxnSpPr>
              <a:cxnSpLocks/>
              <a:stCxn id="111" idx="4"/>
              <a:endCxn id="115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Connector: Elbow 105">
              <a:extLst>
                <a:ext uri="{FF2B5EF4-FFF2-40B4-BE49-F238E27FC236}">
                  <a16:creationId xmlns:a16="http://schemas.microsoft.com/office/drawing/2014/main" id="{B8C27E4E-A261-42A8-A1C5-5D05C342ED13}"/>
                </a:ext>
              </a:extLst>
            </p:cNvPr>
            <p:cNvCxnSpPr>
              <a:cxnSpLocks/>
              <a:stCxn id="111" idx="4"/>
              <a:endCxn id="114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Connector: Elbow 106">
              <a:extLst>
                <a:ext uri="{FF2B5EF4-FFF2-40B4-BE49-F238E27FC236}">
                  <a16:creationId xmlns:a16="http://schemas.microsoft.com/office/drawing/2014/main" id="{9901E387-110C-4416-AB8C-3A9EB934685F}"/>
                </a:ext>
              </a:extLst>
            </p:cNvPr>
            <p:cNvCxnSpPr>
              <a:cxnSpLocks/>
              <a:stCxn id="110" idx="4"/>
              <a:endCxn id="113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Connector: Elbow 107">
              <a:extLst>
                <a:ext uri="{FF2B5EF4-FFF2-40B4-BE49-F238E27FC236}">
                  <a16:creationId xmlns:a16="http://schemas.microsoft.com/office/drawing/2014/main" id="{05A44BD9-692A-43C0-896B-272067C4652D}"/>
                </a:ext>
              </a:extLst>
            </p:cNvPr>
            <p:cNvCxnSpPr>
              <a:cxnSpLocks/>
              <a:stCxn id="110" idx="4"/>
              <a:endCxn id="112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6" name="Connector: Elbow 26">
            <a:extLst>
              <a:ext uri="{FF2B5EF4-FFF2-40B4-BE49-F238E27FC236}">
                <a16:creationId xmlns:a16="http://schemas.microsoft.com/office/drawing/2014/main" id="{A6469585-FF5C-4446-BF5E-91A5071B93B0}"/>
              </a:ext>
            </a:extLst>
          </p:cNvPr>
          <p:cNvCxnSpPr>
            <a:cxnSpLocks/>
            <a:stCxn id="79" idx="3"/>
            <a:endCxn id="109" idx="0"/>
          </p:cNvCxnSpPr>
          <p:nvPr/>
        </p:nvCxnSpPr>
        <p:spPr>
          <a:xfrm flipH="1">
            <a:off x="4424656" y="3286505"/>
            <a:ext cx="1351" cy="259969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or: Elbow 26">
            <a:extLst>
              <a:ext uri="{FF2B5EF4-FFF2-40B4-BE49-F238E27FC236}">
                <a16:creationId xmlns:a16="http://schemas.microsoft.com/office/drawing/2014/main" id="{E0DAC0FE-1BA7-426A-BCA4-96924C9BA315}"/>
              </a:ext>
            </a:extLst>
          </p:cNvPr>
          <p:cNvCxnSpPr>
            <a:cxnSpLocks/>
            <a:stCxn id="81" idx="3"/>
            <a:endCxn id="126" idx="0"/>
          </p:cNvCxnSpPr>
          <p:nvPr/>
        </p:nvCxnSpPr>
        <p:spPr>
          <a:xfrm flipH="1">
            <a:off x="6851263" y="3286505"/>
            <a:ext cx="7117" cy="259969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01DC2590-3BEA-4D0E-9110-37CC3E0CC522}"/>
              </a:ext>
            </a:extLst>
          </p:cNvPr>
          <p:cNvGrpSpPr/>
          <p:nvPr/>
        </p:nvGrpSpPr>
        <p:grpSpPr>
          <a:xfrm>
            <a:off x="5815103" y="3546474"/>
            <a:ext cx="2075022" cy="1064261"/>
            <a:chOff x="2444751" y="3490277"/>
            <a:chExt cx="2075022" cy="1064261"/>
          </a:xfrm>
        </p:grpSpPr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0D334B6C-DED0-45B7-B4C2-D29FEEF68008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67C080C5-0F0B-47BC-AA25-8584E63FC174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9740F4DF-DF0E-422B-81E1-1D4B3CDF8EC2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3EE6E7C0-128F-46EC-89E3-996A0D947270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424030E7-A908-4C4A-B069-56FD88CAEC48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5B40A1C4-9BF8-45F3-8D88-5A7482CDDD41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61F9BFD7-019D-49BA-8467-A166EEDB9046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1E7EC452-D0FC-4A5B-89C4-03FC815836DE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120" name="Connector: Elbow 119">
              <a:extLst>
                <a:ext uri="{FF2B5EF4-FFF2-40B4-BE49-F238E27FC236}">
                  <a16:creationId xmlns:a16="http://schemas.microsoft.com/office/drawing/2014/main" id="{A355CBD4-05CC-4596-B8BF-82B56C05E95A}"/>
                </a:ext>
              </a:extLst>
            </p:cNvPr>
            <p:cNvCxnSpPr>
              <a:cxnSpLocks/>
              <a:stCxn id="126" idx="4"/>
              <a:endCxn id="127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Connector: Elbow 120">
              <a:extLst>
                <a:ext uri="{FF2B5EF4-FFF2-40B4-BE49-F238E27FC236}">
                  <a16:creationId xmlns:a16="http://schemas.microsoft.com/office/drawing/2014/main" id="{E4C3CB47-D73E-4EDE-9A69-39288500AA5A}"/>
                </a:ext>
              </a:extLst>
            </p:cNvPr>
            <p:cNvCxnSpPr>
              <a:cxnSpLocks/>
              <a:stCxn id="126" idx="4"/>
              <a:endCxn id="128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Connector: Elbow 121">
              <a:extLst>
                <a:ext uri="{FF2B5EF4-FFF2-40B4-BE49-F238E27FC236}">
                  <a16:creationId xmlns:a16="http://schemas.microsoft.com/office/drawing/2014/main" id="{1BFE4916-938A-4F06-9700-1175E481AA9D}"/>
                </a:ext>
              </a:extLst>
            </p:cNvPr>
            <p:cNvCxnSpPr>
              <a:cxnSpLocks/>
              <a:stCxn id="128" idx="4"/>
              <a:endCxn id="132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Connector: Elbow 122">
              <a:extLst>
                <a:ext uri="{FF2B5EF4-FFF2-40B4-BE49-F238E27FC236}">
                  <a16:creationId xmlns:a16="http://schemas.microsoft.com/office/drawing/2014/main" id="{3F579256-660B-482C-A991-8D919A8B9A4F}"/>
                </a:ext>
              </a:extLst>
            </p:cNvPr>
            <p:cNvCxnSpPr>
              <a:cxnSpLocks/>
              <a:stCxn id="128" idx="4"/>
              <a:endCxn id="131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Connector: Elbow 123">
              <a:extLst>
                <a:ext uri="{FF2B5EF4-FFF2-40B4-BE49-F238E27FC236}">
                  <a16:creationId xmlns:a16="http://schemas.microsoft.com/office/drawing/2014/main" id="{7BB2F4F4-1A11-4E46-B690-66465A4A9067}"/>
                </a:ext>
              </a:extLst>
            </p:cNvPr>
            <p:cNvCxnSpPr>
              <a:cxnSpLocks/>
              <a:stCxn id="127" idx="4"/>
              <a:endCxn id="130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Connector: Elbow 124">
              <a:extLst>
                <a:ext uri="{FF2B5EF4-FFF2-40B4-BE49-F238E27FC236}">
                  <a16:creationId xmlns:a16="http://schemas.microsoft.com/office/drawing/2014/main" id="{3A8BF676-5304-437F-A929-0F17D5D8CFA5}"/>
                </a:ext>
              </a:extLst>
            </p:cNvPr>
            <p:cNvCxnSpPr>
              <a:cxnSpLocks/>
              <a:stCxn id="127" idx="4"/>
              <a:endCxn id="129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3" name="Flowchart: Decision 132">
            <a:extLst>
              <a:ext uri="{FF2B5EF4-FFF2-40B4-BE49-F238E27FC236}">
                <a16:creationId xmlns:a16="http://schemas.microsoft.com/office/drawing/2014/main" id="{34A26D71-CB5C-424B-A68E-6B697A0D713D}"/>
              </a:ext>
            </a:extLst>
          </p:cNvPr>
          <p:cNvSpPr/>
          <p:nvPr/>
        </p:nvSpPr>
        <p:spPr>
          <a:xfrm>
            <a:off x="2790802" y="5032215"/>
            <a:ext cx="3249696" cy="1145382"/>
          </a:xfrm>
          <a:prstGeom prst="flowChartDecision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bined Ensemble of Models</a:t>
            </a:r>
          </a:p>
        </p:txBody>
      </p:sp>
      <p:cxnSp>
        <p:nvCxnSpPr>
          <p:cNvPr id="134" name="Connector: Elbow 133">
            <a:extLst>
              <a:ext uri="{FF2B5EF4-FFF2-40B4-BE49-F238E27FC236}">
                <a16:creationId xmlns:a16="http://schemas.microsoft.com/office/drawing/2014/main" id="{7BB4652B-D37C-43B8-A3CD-89F27EFAC9DA}"/>
              </a:ext>
            </a:extLst>
          </p:cNvPr>
          <p:cNvCxnSpPr>
            <a:cxnSpLocks/>
            <a:stCxn id="135" idx="2"/>
            <a:endCxn id="133" idx="0"/>
          </p:cNvCxnSpPr>
          <p:nvPr/>
        </p:nvCxnSpPr>
        <p:spPr>
          <a:xfrm rot="16200000" flipH="1">
            <a:off x="2945874" y="3562439"/>
            <a:ext cx="421480" cy="251807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tangle 134">
            <a:extLst>
              <a:ext uri="{FF2B5EF4-FFF2-40B4-BE49-F238E27FC236}">
                <a16:creationId xmlns:a16="http://schemas.microsoft.com/office/drawing/2014/main" id="{86C9D39C-C772-4CC4-B63F-CC20C693BBAE}"/>
              </a:ext>
            </a:extLst>
          </p:cNvPr>
          <p:cNvSpPr/>
          <p:nvPr/>
        </p:nvSpPr>
        <p:spPr>
          <a:xfrm>
            <a:off x="1793776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5EF4DC86-4C05-4C01-9E02-F1FF35999412}"/>
              </a:ext>
            </a:extLst>
          </p:cNvPr>
          <p:cNvSpPr/>
          <p:nvPr/>
        </p:nvSpPr>
        <p:spPr>
          <a:xfrm>
            <a:off x="4321275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A1E8556D-B715-4843-A2A1-BDE60F520F04}"/>
              </a:ext>
            </a:extLst>
          </p:cNvPr>
          <p:cNvSpPr/>
          <p:nvPr/>
        </p:nvSpPr>
        <p:spPr>
          <a:xfrm>
            <a:off x="6708476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38" name="Connector: Elbow 137">
            <a:extLst>
              <a:ext uri="{FF2B5EF4-FFF2-40B4-BE49-F238E27FC236}">
                <a16:creationId xmlns:a16="http://schemas.microsoft.com/office/drawing/2014/main" id="{98B3495F-A6DE-413A-8380-A8EDE9462B73}"/>
              </a:ext>
            </a:extLst>
          </p:cNvPr>
          <p:cNvCxnSpPr>
            <a:cxnSpLocks/>
            <a:stCxn id="136" idx="2"/>
            <a:endCxn id="133" idx="0"/>
          </p:cNvCxnSpPr>
          <p:nvPr/>
        </p:nvCxnSpPr>
        <p:spPr>
          <a:xfrm rot="5400000">
            <a:off x="4209624" y="4816761"/>
            <a:ext cx="421480" cy="942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Connector: Elbow 138">
            <a:extLst>
              <a:ext uri="{FF2B5EF4-FFF2-40B4-BE49-F238E27FC236}">
                <a16:creationId xmlns:a16="http://schemas.microsoft.com/office/drawing/2014/main" id="{AB650BFD-0B1E-4E23-8BE6-A85A0F85EFE4}"/>
              </a:ext>
            </a:extLst>
          </p:cNvPr>
          <p:cNvCxnSpPr>
            <a:cxnSpLocks/>
            <a:stCxn id="137" idx="2"/>
            <a:endCxn id="133" idx="0"/>
          </p:cNvCxnSpPr>
          <p:nvPr/>
        </p:nvCxnSpPr>
        <p:spPr>
          <a:xfrm rot="5400000">
            <a:off x="5403225" y="3623161"/>
            <a:ext cx="421480" cy="239662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TextBox 152">
            <a:extLst>
              <a:ext uri="{FF2B5EF4-FFF2-40B4-BE49-F238E27FC236}">
                <a16:creationId xmlns:a16="http://schemas.microsoft.com/office/drawing/2014/main" id="{C56E8994-08EB-436F-9BC3-0B1DE4705D3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492056" y="2005048"/>
            <a:ext cx="3028232" cy="176125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ate a projection of the dataset sampled with replacement 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ch bag is randomly different, producing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fferent trees</a:t>
            </a:r>
          </a:p>
        </p:txBody>
      </p:sp>
      <p:cxnSp>
        <p:nvCxnSpPr>
          <p:cNvPr id="154" name="Straight Arrow Connector 153">
            <a:extLst>
              <a:ext uri="{FF2B5EF4-FFF2-40B4-BE49-F238E27FC236}">
                <a16:creationId xmlns:a16="http://schemas.microsoft.com/office/drawing/2014/main" id="{708A482F-F3F4-4EA9-8EE1-C3230D002149}"/>
              </a:ext>
            </a:extLst>
          </p:cNvPr>
          <p:cNvCxnSpPr>
            <a:cxnSpLocks/>
          </p:cNvCxnSpPr>
          <p:nvPr/>
        </p:nvCxnSpPr>
        <p:spPr>
          <a:xfrm flipH="1" flipV="1">
            <a:off x="7454900" y="2885673"/>
            <a:ext cx="1037156" cy="1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TextBox 155">
            <a:extLst>
              <a:ext uri="{FF2B5EF4-FFF2-40B4-BE49-F238E27FC236}">
                <a16:creationId xmlns:a16="http://schemas.microsoft.com/office/drawing/2014/main" id="{49571ABC-2F72-4459-96A3-66F14D6BC41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492056" y="4328243"/>
            <a:ext cx="3028232" cy="3916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 a tree out of each bag</a:t>
            </a:r>
          </a:p>
        </p:txBody>
      </p:sp>
      <p:cxnSp>
        <p:nvCxnSpPr>
          <p:cNvPr id="157" name="Straight Arrow Connector 156">
            <a:extLst>
              <a:ext uri="{FF2B5EF4-FFF2-40B4-BE49-F238E27FC236}">
                <a16:creationId xmlns:a16="http://schemas.microsoft.com/office/drawing/2014/main" id="{1C144E96-BF5B-4DAD-A7FF-F83EAE29A447}"/>
              </a:ext>
            </a:extLst>
          </p:cNvPr>
          <p:cNvCxnSpPr>
            <a:cxnSpLocks/>
          </p:cNvCxnSpPr>
          <p:nvPr/>
        </p:nvCxnSpPr>
        <p:spPr>
          <a:xfrm flipH="1" flipV="1">
            <a:off x="7930195" y="4524067"/>
            <a:ext cx="561861" cy="1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ounded Rectangle 71">
            <a:extLst>
              <a:ext uri="{FF2B5EF4-FFF2-40B4-BE49-F238E27FC236}">
                <a16:creationId xmlns:a16="http://schemas.microsoft.com/office/drawing/2014/main" id="{C11ECB3C-718E-3741-94BC-3A6AD3DFD7F9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149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062551-E13C-6F4E-88E1-372BC860C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gging is good for you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FB91E53-8B63-418C-9F11-9CDF719A1514}"/>
              </a:ext>
            </a:extLst>
          </p:cNvPr>
          <p:cNvGrpSpPr/>
          <p:nvPr/>
        </p:nvGrpSpPr>
        <p:grpSpPr>
          <a:xfrm>
            <a:off x="3941590" y="1382757"/>
            <a:ext cx="7588794" cy="4208806"/>
            <a:chOff x="3941590" y="947738"/>
            <a:chExt cx="7588794" cy="4208806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2578DCC-F9DA-9D42-8DD4-816E5474C2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69" r="494"/>
            <a:stretch/>
          </p:blipFill>
          <p:spPr>
            <a:xfrm>
              <a:off x="3941590" y="947738"/>
              <a:ext cx="7588794" cy="3582018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C6EE5C2D-A2B5-D74F-A189-F0BC2E3B3C27}"/>
                </a:ext>
              </a:extLst>
            </p:cNvPr>
            <p:cNvSpPr txBox="1"/>
            <p:nvPr/>
          </p:nvSpPr>
          <p:spPr>
            <a:xfrm>
              <a:off x="5031512" y="4694879"/>
              <a:ext cx="225363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Single learner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9F9C0CD-5AAF-F049-AADA-D382FA8C2FC7}"/>
                </a:ext>
              </a:extLst>
            </p:cNvPr>
            <p:cNvSpPr txBox="1"/>
            <p:nvPr/>
          </p:nvSpPr>
          <p:spPr>
            <a:xfrm>
              <a:off x="9206247" y="4694879"/>
              <a:ext cx="16385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Ensemble</a:t>
              </a: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F6DE4798-4171-49CB-9389-92D1DAEEEC8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75489" y="1382757"/>
            <a:ext cx="3335860" cy="18158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uces variance 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estimate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vents overfitting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bust to outliers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E7EC0A87-B3C0-0647-B58E-74D23D4A6D7D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789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C8DA90E-F1B7-4A58-A32A-AB55E7E0A7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93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C8DA90E-F1B7-4A58-A32A-AB55E7E0A7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dirty="0">
                <a:latin typeface="Georgia" panose="02040502050405020303" pitchFamily="18" charset="0"/>
              </a:rPr>
              <a:t>Random Forest</a:t>
            </a:r>
            <a:r>
              <a:rPr lang="en-AU" dirty="0">
                <a:latin typeface="Georgia" panose="02040502050405020303" pitchFamily="18" charset="0"/>
              </a:rPr>
              <a:t>s are an ensemble model of multiple trees</a:t>
            </a:r>
            <a:endParaRPr dirty="0">
              <a:latin typeface="Georgia" panose="02040502050405020303" pitchFamily="18" charset="0"/>
            </a:endParaRPr>
          </a:p>
        </p:txBody>
      </p:sp>
      <p:sp>
        <p:nvSpPr>
          <p:cNvPr id="140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>
                <a:tab pos="630236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http://www.slideshare.net/eoinbrazil/introduction-to-machine-learning-using-r-dublin-r-user-group-oct-2013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370C1E-EC43-4AE2-9B5B-9FC1DA64F78C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62789" y="5153028"/>
            <a:ext cx="11044800" cy="1284198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verse each tree and at each node in a tree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ts val="50"/>
              </a:spcBef>
              <a:spcAft>
                <a:spcPts val="3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ect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DEE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andom predictor variables from available set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ts val="50"/>
              </a:spcBef>
              <a:spcAft>
                <a:spcPts val="3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 the variable with best split (use objective function)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ts val="50"/>
              </a:spcBef>
              <a:spcAft>
                <a:spcPts val="300"/>
              </a:spcAft>
              <a:buClr>
                <a:srgbClr val="808080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ve to next node in tree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9EF16484-AAB1-49A4-A4F4-B849B63B8722}"/>
              </a:ext>
            </a:extLst>
          </p:cNvPr>
          <p:cNvGrpSpPr/>
          <p:nvPr/>
        </p:nvGrpSpPr>
        <p:grpSpPr>
          <a:xfrm>
            <a:off x="475488" y="846056"/>
            <a:ext cx="11044800" cy="830580"/>
            <a:chOff x="475488" y="995780"/>
            <a:chExt cx="11044800" cy="83058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5460346-F1EB-4386-9A0B-E4C5E5CEDCE2}"/>
                </a:ext>
              </a:extLst>
            </p:cNvPr>
            <p:cNvSpPr/>
            <p:nvPr/>
          </p:nvSpPr>
          <p:spPr>
            <a:xfrm>
              <a:off x="475488" y="995780"/>
              <a:ext cx="5407827" cy="830580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AF04DD5-CC73-4BDD-8ED0-0C9DEDA1EB3D}"/>
                </a:ext>
              </a:extLst>
            </p:cNvPr>
            <p:cNvSpPr/>
            <p:nvPr/>
          </p:nvSpPr>
          <p:spPr>
            <a:xfrm>
              <a:off x="6112461" y="995780"/>
              <a:ext cx="5407827" cy="830580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5C80872-E370-43C7-BA42-DCA387D1059F}"/>
                </a:ext>
              </a:extLst>
            </p:cNvPr>
            <p:cNvSpPr txBox="1"/>
            <p:nvPr/>
          </p:nvSpPr>
          <p:spPr>
            <a:xfrm>
              <a:off x="2886661" y="1042616"/>
              <a:ext cx="585481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e 1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B5D1F62-03E4-4A3A-B62D-17975CD6B4EE}"/>
                </a:ext>
              </a:extLst>
            </p:cNvPr>
            <p:cNvSpPr txBox="1"/>
            <p:nvPr/>
          </p:nvSpPr>
          <p:spPr>
            <a:xfrm>
              <a:off x="8523634" y="1042616"/>
              <a:ext cx="585481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e 2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89414AD-C481-493F-BAD3-4FE4C62B8FF4}"/>
                </a:ext>
              </a:extLst>
            </p:cNvPr>
            <p:cNvSpPr txBox="1"/>
            <p:nvPr/>
          </p:nvSpPr>
          <p:spPr>
            <a:xfrm>
              <a:off x="577801" y="1417480"/>
              <a:ext cx="706925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set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678A4D5-463D-49D5-9E3E-F109B7CD6CEA}"/>
                </a:ext>
              </a:extLst>
            </p:cNvPr>
            <p:cNvSpPr txBox="1"/>
            <p:nvPr/>
          </p:nvSpPr>
          <p:spPr>
            <a:xfrm>
              <a:off x="6247081" y="1456085"/>
              <a:ext cx="706925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set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37ED4FC-EBE5-40E1-B0DB-429B820FA1A0}"/>
                </a:ext>
              </a:extLst>
            </p:cNvPr>
            <p:cNvSpPr/>
            <p:nvPr/>
          </p:nvSpPr>
          <p:spPr>
            <a:xfrm>
              <a:off x="1419346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B05A135-52BA-424E-97F6-F0FC705369D5}"/>
                </a:ext>
              </a:extLst>
            </p:cNvPr>
            <p:cNvSpPr/>
            <p:nvPr/>
          </p:nvSpPr>
          <p:spPr>
            <a:xfrm>
              <a:off x="1857801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24EB838-BC18-4057-BF42-21C8FC5C5A84}"/>
                </a:ext>
              </a:extLst>
            </p:cNvPr>
            <p:cNvSpPr/>
            <p:nvPr/>
          </p:nvSpPr>
          <p:spPr>
            <a:xfrm>
              <a:off x="2296257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CF9AE19-E96C-44FE-B45D-3C4778A8D2C8}"/>
                </a:ext>
              </a:extLst>
            </p:cNvPr>
            <p:cNvSpPr/>
            <p:nvPr/>
          </p:nvSpPr>
          <p:spPr>
            <a:xfrm>
              <a:off x="2734712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52257578-EAB2-411F-BDBE-BACFB2BC00B0}"/>
                </a:ext>
              </a:extLst>
            </p:cNvPr>
            <p:cNvSpPr/>
            <p:nvPr/>
          </p:nvSpPr>
          <p:spPr>
            <a:xfrm>
              <a:off x="3173168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3A69509-9124-4BC8-BDA7-C4D6110893B2}"/>
                </a:ext>
              </a:extLst>
            </p:cNvPr>
            <p:cNvSpPr/>
            <p:nvPr/>
          </p:nvSpPr>
          <p:spPr>
            <a:xfrm>
              <a:off x="3611623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4229E07-FC78-4D7A-8052-3C763ECE40F8}"/>
                </a:ext>
              </a:extLst>
            </p:cNvPr>
            <p:cNvSpPr/>
            <p:nvPr/>
          </p:nvSpPr>
          <p:spPr>
            <a:xfrm>
              <a:off x="4050078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1FB8843-6B29-4503-A15B-E0F44A045BCA}"/>
                </a:ext>
              </a:extLst>
            </p:cNvPr>
            <p:cNvSpPr/>
            <p:nvPr/>
          </p:nvSpPr>
          <p:spPr>
            <a:xfrm>
              <a:off x="4488534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C8093D8-7810-4AE2-839B-9A9CF122E724}"/>
                </a:ext>
              </a:extLst>
            </p:cNvPr>
            <p:cNvSpPr/>
            <p:nvPr/>
          </p:nvSpPr>
          <p:spPr>
            <a:xfrm>
              <a:off x="4926989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D967A66-C99B-404B-8FD7-F18B8C6ED7C2}"/>
                </a:ext>
              </a:extLst>
            </p:cNvPr>
            <p:cNvSpPr/>
            <p:nvPr/>
          </p:nvSpPr>
          <p:spPr>
            <a:xfrm>
              <a:off x="5365445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C3D1B65-1541-41B7-AF63-8424B190C73F}"/>
                </a:ext>
              </a:extLst>
            </p:cNvPr>
            <p:cNvSpPr/>
            <p:nvPr/>
          </p:nvSpPr>
          <p:spPr>
            <a:xfrm>
              <a:off x="8766248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D66E6399-340F-4B5B-8EE1-80608B0F198B}"/>
                </a:ext>
              </a:extLst>
            </p:cNvPr>
            <p:cNvSpPr/>
            <p:nvPr/>
          </p:nvSpPr>
          <p:spPr>
            <a:xfrm>
              <a:off x="7450881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BD74BB6C-94F1-4270-8286-85372BE5DBF3}"/>
                </a:ext>
              </a:extLst>
            </p:cNvPr>
            <p:cNvSpPr/>
            <p:nvPr/>
          </p:nvSpPr>
          <p:spPr>
            <a:xfrm>
              <a:off x="10081614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F0ACF80-10DD-4269-AC07-703C5D571EEB}"/>
                </a:ext>
              </a:extLst>
            </p:cNvPr>
            <p:cNvSpPr/>
            <p:nvPr/>
          </p:nvSpPr>
          <p:spPr>
            <a:xfrm>
              <a:off x="8327792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DF980B4-65CA-4C4F-A891-BA7FA9687DA4}"/>
                </a:ext>
              </a:extLst>
            </p:cNvPr>
            <p:cNvSpPr/>
            <p:nvPr/>
          </p:nvSpPr>
          <p:spPr>
            <a:xfrm>
              <a:off x="7012426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43029F7-F897-40CC-842F-09F7BC7CE26B}"/>
                </a:ext>
              </a:extLst>
            </p:cNvPr>
            <p:cNvSpPr/>
            <p:nvPr/>
          </p:nvSpPr>
          <p:spPr>
            <a:xfrm>
              <a:off x="9204703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53DA8F0-1D30-4C3D-906F-D49B9C597633}"/>
                </a:ext>
              </a:extLst>
            </p:cNvPr>
            <p:cNvSpPr/>
            <p:nvPr/>
          </p:nvSpPr>
          <p:spPr>
            <a:xfrm>
              <a:off x="9643158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C2B655F4-03E7-408E-9EA8-25EA5067B05A}"/>
                </a:ext>
              </a:extLst>
            </p:cNvPr>
            <p:cNvSpPr/>
            <p:nvPr/>
          </p:nvSpPr>
          <p:spPr>
            <a:xfrm>
              <a:off x="7889337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71593859-83B2-4254-8621-83E6317EE0B9}"/>
                </a:ext>
              </a:extLst>
            </p:cNvPr>
            <p:cNvSpPr/>
            <p:nvPr/>
          </p:nvSpPr>
          <p:spPr>
            <a:xfrm>
              <a:off x="10958525" y="1335673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7F658315-3E2D-49E3-B4F2-8117A3FB6A1B}"/>
                </a:ext>
              </a:extLst>
            </p:cNvPr>
            <p:cNvSpPr/>
            <p:nvPr/>
          </p:nvSpPr>
          <p:spPr>
            <a:xfrm>
              <a:off x="10520069" y="1335673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B8A3CB6B-2008-407D-87E7-348CA09E1A93}"/>
              </a:ext>
            </a:extLst>
          </p:cNvPr>
          <p:cNvGrpSpPr/>
          <p:nvPr/>
        </p:nvGrpSpPr>
        <p:grpSpPr>
          <a:xfrm>
            <a:off x="475488" y="2999542"/>
            <a:ext cx="11044800" cy="830580"/>
            <a:chOff x="475488" y="3385262"/>
            <a:chExt cx="11044800" cy="830580"/>
          </a:xfrm>
        </p:grpSpPr>
        <p:sp>
          <p:nvSpPr>
            <p:cNvPr id="3" name="object 3"/>
            <p:cNvSpPr txBox="1"/>
            <p:nvPr/>
          </p:nvSpPr>
          <p:spPr>
            <a:xfrm>
              <a:off x="10340523" y="3404918"/>
              <a:ext cx="92333" cy="267824"/>
            </a:xfrm>
            <a:prstGeom prst="rect">
              <a:avLst/>
            </a:prstGeom>
          </p:spPr>
          <p:txBody>
            <a:bodyPr vert="vert" wrap="square" lIns="0" tIns="5077" rIns="0" bIns="0" rtlCol="0">
              <a:spAutoFit/>
            </a:bodyPr>
            <a:lstStyle/>
            <a:p>
              <a:pPr marL="12694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4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600" b="0" i="0" u="none" strike="noStrike" kern="1200" cap="none" spc="-5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/>
                </a:rPr>
                <a:t>P</a:t>
              </a:r>
              <a:r>
                <a:rPr kumimoji="0" sz="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/>
                </a:rPr>
                <a:t>rin</a:t>
              </a:r>
              <a:r>
                <a:rPr kumimoji="0" sz="600" b="0" i="0" u="none" strike="noStrike" kern="1200" cap="none" spc="-5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/>
                </a:rPr>
                <a:t>t</a:t>
              </a:r>
              <a:r>
                <a:rPr kumimoji="0" sz="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/>
                </a:rPr>
                <a:t>ed</a:t>
              </a:r>
              <a:endParaRPr kumimoji="0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DE9AA687-B71D-4F33-9B48-4DD6B5B7757B}"/>
                </a:ext>
              </a:extLst>
            </p:cNvPr>
            <p:cNvSpPr/>
            <p:nvPr/>
          </p:nvSpPr>
          <p:spPr>
            <a:xfrm>
              <a:off x="475488" y="3385262"/>
              <a:ext cx="5407827" cy="830580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0466637F-4133-492E-B322-DDB632A0440A}"/>
                </a:ext>
              </a:extLst>
            </p:cNvPr>
            <p:cNvSpPr/>
            <p:nvPr/>
          </p:nvSpPr>
          <p:spPr>
            <a:xfrm>
              <a:off x="6112461" y="3385262"/>
              <a:ext cx="5407827" cy="830580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0B3A667F-2703-49DF-8982-7006ACF76EC9}"/>
                </a:ext>
              </a:extLst>
            </p:cNvPr>
            <p:cNvSpPr txBox="1"/>
            <p:nvPr/>
          </p:nvSpPr>
          <p:spPr>
            <a:xfrm>
              <a:off x="2886661" y="3432098"/>
              <a:ext cx="585481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e 3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7064F891-264A-4680-8888-11A10291C9DD}"/>
                </a:ext>
              </a:extLst>
            </p:cNvPr>
            <p:cNvSpPr txBox="1"/>
            <p:nvPr/>
          </p:nvSpPr>
          <p:spPr>
            <a:xfrm>
              <a:off x="8523634" y="3432098"/>
              <a:ext cx="585481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e 4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91C959BB-0F88-4552-A3EC-C42A6C18756A}"/>
                </a:ext>
              </a:extLst>
            </p:cNvPr>
            <p:cNvSpPr txBox="1"/>
            <p:nvPr/>
          </p:nvSpPr>
          <p:spPr>
            <a:xfrm>
              <a:off x="577801" y="3806962"/>
              <a:ext cx="706925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set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EC0EDCD5-8A0F-4DEC-8AA9-B2A05C8FFBE3}"/>
                </a:ext>
              </a:extLst>
            </p:cNvPr>
            <p:cNvSpPr txBox="1"/>
            <p:nvPr/>
          </p:nvSpPr>
          <p:spPr>
            <a:xfrm>
              <a:off x="6247081" y="3845567"/>
              <a:ext cx="706925" cy="24622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set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CAADC899-D1F5-40A6-AD59-1E6D5A584F0E}"/>
                </a:ext>
              </a:extLst>
            </p:cNvPr>
            <p:cNvSpPr/>
            <p:nvPr/>
          </p:nvSpPr>
          <p:spPr>
            <a:xfrm>
              <a:off x="1419346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3395A17E-62CB-476E-96A8-4181C3523DDD}"/>
                </a:ext>
              </a:extLst>
            </p:cNvPr>
            <p:cNvSpPr/>
            <p:nvPr/>
          </p:nvSpPr>
          <p:spPr>
            <a:xfrm>
              <a:off x="1857801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CF632A1D-1B97-4F61-92BA-494AAB8B1534}"/>
                </a:ext>
              </a:extLst>
            </p:cNvPr>
            <p:cNvSpPr/>
            <p:nvPr/>
          </p:nvSpPr>
          <p:spPr>
            <a:xfrm>
              <a:off x="2296257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24C45A9D-53BD-4953-9E6C-6245DEC08E74}"/>
                </a:ext>
              </a:extLst>
            </p:cNvPr>
            <p:cNvSpPr/>
            <p:nvPr/>
          </p:nvSpPr>
          <p:spPr>
            <a:xfrm>
              <a:off x="2734712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29FC2456-FF0A-4D50-9EB4-77ECC78BD21E}"/>
                </a:ext>
              </a:extLst>
            </p:cNvPr>
            <p:cNvSpPr/>
            <p:nvPr/>
          </p:nvSpPr>
          <p:spPr>
            <a:xfrm>
              <a:off x="3173168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E2DB86FC-FE4B-4AFF-942B-2BE5E2420077}"/>
                </a:ext>
              </a:extLst>
            </p:cNvPr>
            <p:cNvSpPr/>
            <p:nvPr/>
          </p:nvSpPr>
          <p:spPr>
            <a:xfrm>
              <a:off x="3611623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293D570-49F7-4BEE-99D9-92F2E9C381D0}"/>
                </a:ext>
              </a:extLst>
            </p:cNvPr>
            <p:cNvSpPr/>
            <p:nvPr/>
          </p:nvSpPr>
          <p:spPr>
            <a:xfrm>
              <a:off x="4050078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76E2020A-232B-410A-8EC1-E7AC1838A4EC}"/>
                </a:ext>
              </a:extLst>
            </p:cNvPr>
            <p:cNvSpPr/>
            <p:nvPr/>
          </p:nvSpPr>
          <p:spPr>
            <a:xfrm>
              <a:off x="4488534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A6DBAD2-4935-4CB7-B9AD-BD91F45ACDCE}"/>
                </a:ext>
              </a:extLst>
            </p:cNvPr>
            <p:cNvSpPr/>
            <p:nvPr/>
          </p:nvSpPr>
          <p:spPr>
            <a:xfrm>
              <a:off x="4926989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8794B86E-110E-43E9-8FF3-D1C981F258BC}"/>
                </a:ext>
              </a:extLst>
            </p:cNvPr>
            <p:cNvSpPr/>
            <p:nvPr/>
          </p:nvSpPr>
          <p:spPr>
            <a:xfrm>
              <a:off x="5365445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7A85BC48-C363-4659-8DE3-7A9E33304D37}"/>
                </a:ext>
              </a:extLst>
            </p:cNvPr>
            <p:cNvSpPr/>
            <p:nvPr/>
          </p:nvSpPr>
          <p:spPr>
            <a:xfrm>
              <a:off x="8766248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B27D76A5-D229-47BD-8739-5BA46EC2E8AB}"/>
                </a:ext>
              </a:extLst>
            </p:cNvPr>
            <p:cNvSpPr/>
            <p:nvPr/>
          </p:nvSpPr>
          <p:spPr>
            <a:xfrm>
              <a:off x="7450881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03EF4134-B02A-476F-AD6A-C3E03728616E}"/>
                </a:ext>
              </a:extLst>
            </p:cNvPr>
            <p:cNvSpPr/>
            <p:nvPr/>
          </p:nvSpPr>
          <p:spPr>
            <a:xfrm>
              <a:off x="10081614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D0DF1F56-7ACE-40A8-95CF-3661F0877C1B}"/>
                </a:ext>
              </a:extLst>
            </p:cNvPr>
            <p:cNvSpPr/>
            <p:nvPr/>
          </p:nvSpPr>
          <p:spPr>
            <a:xfrm>
              <a:off x="8327792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0153B6CC-DF7C-4048-A516-E5B048BC13D0}"/>
                </a:ext>
              </a:extLst>
            </p:cNvPr>
            <p:cNvSpPr/>
            <p:nvPr/>
          </p:nvSpPr>
          <p:spPr>
            <a:xfrm>
              <a:off x="7012426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3929DFBB-0E62-4742-8647-C3B906150757}"/>
                </a:ext>
              </a:extLst>
            </p:cNvPr>
            <p:cNvSpPr/>
            <p:nvPr/>
          </p:nvSpPr>
          <p:spPr>
            <a:xfrm>
              <a:off x="9204703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213D0C2A-5F05-4E2B-9A12-04F0443460D4}"/>
                </a:ext>
              </a:extLst>
            </p:cNvPr>
            <p:cNvSpPr/>
            <p:nvPr/>
          </p:nvSpPr>
          <p:spPr>
            <a:xfrm>
              <a:off x="9643158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561037CF-CBD3-46EC-BDAE-AF38A6081E73}"/>
                </a:ext>
              </a:extLst>
            </p:cNvPr>
            <p:cNvSpPr/>
            <p:nvPr/>
          </p:nvSpPr>
          <p:spPr>
            <a:xfrm>
              <a:off x="7889337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CDC8C62C-5BF1-45CA-BEDE-E8161F72DB6F}"/>
                </a:ext>
              </a:extLst>
            </p:cNvPr>
            <p:cNvSpPr/>
            <p:nvPr/>
          </p:nvSpPr>
          <p:spPr>
            <a:xfrm>
              <a:off x="10958525" y="3725155"/>
              <a:ext cx="438455" cy="40983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90390E79-5D2F-40FF-8884-FB94E6DCD085}"/>
                </a:ext>
              </a:extLst>
            </p:cNvPr>
            <p:cNvSpPr/>
            <p:nvPr/>
          </p:nvSpPr>
          <p:spPr>
            <a:xfrm>
              <a:off x="10520069" y="3725155"/>
              <a:ext cx="438455" cy="409835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D130BA24-7F36-4D95-9AD6-8C1AC441EF7E}"/>
              </a:ext>
            </a:extLst>
          </p:cNvPr>
          <p:cNvGrpSpPr/>
          <p:nvPr/>
        </p:nvGrpSpPr>
        <p:grpSpPr>
          <a:xfrm>
            <a:off x="2788275" y="1771018"/>
            <a:ext cx="6419226" cy="1134142"/>
            <a:chOff x="2788275" y="1719293"/>
            <a:chExt cx="6419226" cy="1134142"/>
          </a:xfrm>
        </p:grpSpPr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9F8D47FB-BFF7-4CE3-A6D0-0B84CBCBFEA5}"/>
                </a:ext>
              </a:extLst>
            </p:cNvPr>
            <p:cNvGrpSpPr/>
            <p:nvPr/>
          </p:nvGrpSpPr>
          <p:grpSpPr>
            <a:xfrm>
              <a:off x="2788275" y="1719293"/>
              <a:ext cx="1527709" cy="1134142"/>
              <a:chOff x="2788275" y="1719293"/>
              <a:chExt cx="1527709" cy="1134142"/>
            </a:xfrm>
          </p:grpSpPr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301F1F31-9F1C-4C01-B9D0-60FEE2834F90}"/>
                  </a:ext>
                </a:extLst>
              </p:cNvPr>
              <p:cNvSpPr/>
              <p:nvPr/>
            </p:nvSpPr>
            <p:spPr>
              <a:xfrm>
                <a:off x="2788275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00628302-81C5-4C2E-BC56-96BA6D460579}"/>
                  </a:ext>
                </a:extLst>
              </p:cNvPr>
              <p:cNvSpPr/>
              <p:nvPr/>
            </p:nvSpPr>
            <p:spPr>
              <a:xfrm>
                <a:off x="3202957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E0E533CD-12F7-41A5-AA09-B5567381939C}"/>
                  </a:ext>
                </a:extLst>
              </p:cNvPr>
              <p:cNvSpPr/>
              <p:nvPr/>
            </p:nvSpPr>
            <p:spPr>
              <a:xfrm>
                <a:off x="3617640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D14692C9-BC4A-436C-8B71-054371D51049}"/>
                  </a:ext>
                </a:extLst>
              </p:cNvPr>
              <p:cNvSpPr/>
              <p:nvPr/>
            </p:nvSpPr>
            <p:spPr>
              <a:xfrm>
                <a:off x="4032322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1D12F240-514B-42F2-94CE-C7895D19363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017949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745F18D3-BA0C-45BE-AB8A-1E3527121A6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40485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862D0C90-8868-4E5F-9FD7-FA2B8BA3B3D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429217" y="1719293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02" name="Straight Arrow Connector 101">
                <a:extLst>
                  <a:ext uri="{FF2B5EF4-FFF2-40B4-BE49-F238E27FC236}">
                    <a16:creationId xmlns:a16="http://schemas.microsoft.com/office/drawing/2014/main" id="{54DCB218-35ED-422B-BB67-DA2D85EA194C}"/>
                  </a:ext>
                </a:extLst>
              </p:cNvPr>
              <p:cNvCxnSpPr>
                <a:stCxn id="74" idx="3"/>
                <a:endCxn id="72" idx="7"/>
              </p:cNvCxnSpPr>
              <p:nvPr/>
            </p:nvCxnSpPr>
            <p:spPr>
              <a:xfrm flipH="1">
                <a:off x="3245174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Arrow Connector 105">
                <a:extLst>
                  <a:ext uri="{FF2B5EF4-FFF2-40B4-BE49-F238E27FC236}">
                    <a16:creationId xmlns:a16="http://schemas.microsoft.com/office/drawing/2014/main" id="{38D54A32-14B1-419D-BA00-4DF9EF341A04}"/>
                  </a:ext>
                </a:extLst>
              </p:cNvPr>
              <p:cNvCxnSpPr>
                <a:cxnSpLocks/>
                <a:stCxn id="74" idx="5"/>
                <a:endCxn id="73" idx="1"/>
              </p:cNvCxnSpPr>
              <p:nvPr/>
            </p:nvCxnSpPr>
            <p:spPr>
              <a:xfrm>
                <a:off x="3656442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Arrow Connector 108">
                <a:extLst>
                  <a:ext uri="{FF2B5EF4-FFF2-40B4-BE49-F238E27FC236}">
                    <a16:creationId xmlns:a16="http://schemas.microsoft.com/office/drawing/2014/main" id="{154E415F-F98B-4CB2-9924-80DF4C35B63D}"/>
                  </a:ext>
                </a:extLst>
              </p:cNvPr>
              <p:cNvCxnSpPr>
                <a:cxnSpLocks/>
                <a:stCxn id="73" idx="4"/>
                <a:endCxn id="70" idx="0"/>
              </p:cNvCxnSpPr>
              <p:nvPr/>
            </p:nvCxnSpPr>
            <p:spPr>
              <a:xfrm>
                <a:off x="3973591" y="2384125"/>
                <a:ext cx="200562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Arrow Connector 111">
                <a:extLst>
                  <a:ext uri="{FF2B5EF4-FFF2-40B4-BE49-F238E27FC236}">
                    <a16:creationId xmlns:a16="http://schemas.microsoft.com/office/drawing/2014/main" id="{9D031740-C51D-4C59-8D0F-79FB600D64AE}"/>
                  </a:ext>
                </a:extLst>
              </p:cNvPr>
              <p:cNvCxnSpPr>
                <a:cxnSpLocks/>
                <a:stCxn id="73" idx="4"/>
                <a:endCxn id="69" idx="0"/>
              </p:cNvCxnSpPr>
              <p:nvPr/>
            </p:nvCxnSpPr>
            <p:spPr>
              <a:xfrm flipH="1">
                <a:off x="3759471" y="2384125"/>
                <a:ext cx="214120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Arrow Connector 114">
                <a:extLst>
                  <a:ext uri="{FF2B5EF4-FFF2-40B4-BE49-F238E27FC236}">
                    <a16:creationId xmlns:a16="http://schemas.microsoft.com/office/drawing/2014/main" id="{C91487F2-5EC7-4FA8-8D80-5A87B5435C1E}"/>
                  </a:ext>
                </a:extLst>
              </p:cNvPr>
              <p:cNvCxnSpPr>
                <a:cxnSpLocks/>
                <a:stCxn id="72" idx="4"/>
                <a:endCxn id="67" idx="0"/>
              </p:cNvCxnSpPr>
              <p:nvPr/>
            </p:nvCxnSpPr>
            <p:spPr>
              <a:xfrm flipH="1">
                <a:off x="2930106" y="2384125"/>
                <a:ext cx="220949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Arrow Connector 117">
                <a:extLst>
                  <a:ext uri="{FF2B5EF4-FFF2-40B4-BE49-F238E27FC236}">
                    <a16:creationId xmlns:a16="http://schemas.microsoft.com/office/drawing/2014/main" id="{8CC31106-6F02-452C-8EA6-EAE105AF55C9}"/>
                  </a:ext>
                </a:extLst>
              </p:cNvPr>
              <p:cNvCxnSpPr>
                <a:cxnSpLocks/>
                <a:stCxn id="72" idx="4"/>
                <a:endCxn id="68" idx="0"/>
              </p:cNvCxnSpPr>
              <p:nvPr/>
            </p:nvCxnSpPr>
            <p:spPr>
              <a:xfrm>
                <a:off x="3151055" y="2384125"/>
                <a:ext cx="193733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1A1CDFCB-A934-40BE-8EE5-FC978EF24D04}"/>
                </a:ext>
              </a:extLst>
            </p:cNvPr>
            <p:cNvGrpSpPr/>
            <p:nvPr/>
          </p:nvGrpSpPr>
          <p:grpSpPr>
            <a:xfrm>
              <a:off x="7679792" y="1719293"/>
              <a:ext cx="1527709" cy="1134142"/>
              <a:chOff x="2788275" y="1719293"/>
              <a:chExt cx="1527709" cy="1134142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50B18D2C-4831-4D7D-92E1-1DEF2F0AE706}"/>
                  </a:ext>
                </a:extLst>
              </p:cNvPr>
              <p:cNvSpPr/>
              <p:nvPr/>
            </p:nvSpPr>
            <p:spPr>
              <a:xfrm>
                <a:off x="2788275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id="{9DE2FDAC-6241-48D9-A8CC-EDF2A6645141}"/>
                  </a:ext>
                </a:extLst>
              </p:cNvPr>
              <p:cNvSpPr/>
              <p:nvPr/>
            </p:nvSpPr>
            <p:spPr>
              <a:xfrm>
                <a:off x="3202957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5" name="Rectangle 124">
                <a:extLst>
                  <a:ext uri="{FF2B5EF4-FFF2-40B4-BE49-F238E27FC236}">
                    <a16:creationId xmlns:a16="http://schemas.microsoft.com/office/drawing/2014/main" id="{BCE18C30-7C50-4C41-A588-31D3612CC79C}"/>
                  </a:ext>
                </a:extLst>
              </p:cNvPr>
              <p:cNvSpPr/>
              <p:nvPr/>
            </p:nvSpPr>
            <p:spPr>
              <a:xfrm>
                <a:off x="3617640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" name="Rectangle 125">
                <a:extLst>
                  <a:ext uri="{FF2B5EF4-FFF2-40B4-BE49-F238E27FC236}">
                    <a16:creationId xmlns:a16="http://schemas.microsoft.com/office/drawing/2014/main" id="{9890E02B-795B-492E-A3E1-5F5399484583}"/>
                  </a:ext>
                </a:extLst>
              </p:cNvPr>
              <p:cNvSpPr/>
              <p:nvPr/>
            </p:nvSpPr>
            <p:spPr>
              <a:xfrm>
                <a:off x="4032322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3249DB9B-DE79-428F-BD62-5397BF50DA8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017949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AC51B831-158E-410D-80E8-B54968C4C75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40485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89B0747E-A62A-4370-AEDF-06E9B48B99F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429217" y="1719293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30" name="Straight Arrow Connector 129">
                <a:extLst>
                  <a:ext uri="{FF2B5EF4-FFF2-40B4-BE49-F238E27FC236}">
                    <a16:creationId xmlns:a16="http://schemas.microsoft.com/office/drawing/2014/main" id="{DB72A1BA-86C5-4794-805E-A2D2111FED10}"/>
                  </a:ext>
                </a:extLst>
              </p:cNvPr>
              <p:cNvCxnSpPr>
                <a:stCxn id="129" idx="3"/>
                <a:endCxn id="127" idx="7"/>
              </p:cNvCxnSpPr>
              <p:nvPr/>
            </p:nvCxnSpPr>
            <p:spPr>
              <a:xfrm flipH="1">
                <a:off x="3245174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Arrow Connector 130">
                <a:extLst>
                  <a:ext uri="{FF2B5EF4-FFF2-40B4-BE49-F238E27FC236}">
                    <a16:creationId xmlns:a16="http://schemas.microsoft.com/office/drawing/2014/main" id="{FF708DE8-91B6-4A82-996E-15CB944FE8A8}"/>
                  </a:ext>
                </a:extLst>
              </p:cNvPr>
              <p:cNvCxnSpPr>
                <a:cxnSpLocks/>
                <a:stCxn id="129" idx="5"/>
                <a:endCxn id="128" idx="1"/>
              </p:cNvCxnSpPr>
              <p:nvPr/>
            </p:nvCxnSpPr>
            <p:spPr>
              <a:xfrm>
                <a:off x="3656442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Arrow Connector 131">
                <a:extLst>
                  <a:ext uri="{FF2B5EF4-FFF2-40B4-BE49-F238E27FC236}">
                    <a16:creationId xmlns:a16="http://schemas.microsoft.com/office/drawing/2014/main" id="{D4941078-3CD1-4417-9D10-EE91B4D61143}"/>
                  </a:ext>
                </a:extLst>
              </p:cNvPr>
              <p:cNvCxnSpPr>
                <a:cxnSpLocks/>
                <a:stCxn id="128" idx="4"/>
                <a:endCxn id="126" idx="0"/>
              </p:cNvCxnSpPr>
              <p:nvPr/>
            </p:nvCxnSpPr>
            <p:spPr>
              <a:xfrm>
                <a:off x="3973591" y="2384125"/>
                <a:ext cx="200562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Arrow Connector 132">
                <a:extLst>
                  <a:ext uri="{FF2B5EF4-FFF2-40B4-BE49-F238E27FC236}">
                    <a16:creationId xmlns:a16="http://schemas.microsoft.com/office/drawing/2014/main" id="{BD4DF059-0711-4074-A12C-103C51227685}"/>
                  </a:ext>
                </a:extLst>
              </p:cNvPr>
              <p:cNvCxnSpPr>
                <a:cxnSpLocks/>
                <a:stCxn id="128" idx="4"/>
                <a:endCxn id="125" idx="0"/>
              </p:cNvCxnSpPr>
              <p:nvPr/>
            </p:nvCxnSpPr>
            <p:spPr>
              <a:xfrm flipH="1">
                <a:off x="3759471" y="2384125"/>
                <a:ext cx="214120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Arrow Connector 133">
                <a:extLst>
                  <a:ext uri="{FF2B5EF4-FFF2-40B4-BE49-F238E27FC236}">
                    <a16:creationId xmlns:a16="http://schemas.microsoft.com/office/drawing/2014/main" id="{AF6DC67E-03C8-4506-838D-743E80DE7C40}"/>
                  </a:ext>
                </a:extLst>
              </p:cNvPr>
              <p:cNvCxnSpPr>
                <a:cxnSpLocks/>
                <a:stCxn id="127" idx="4"/>
                <a:endCxn id="123" idx="0"/>
              </p:cNvCxnSpPr>
              <p:nvPr/>
            </p:nvCxnSpPr>
            <p:spPr>
              <a:xfrm flipH="1">
                <a:off x="2930106" y="2384125"/>
                <a:ext cx="220949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Arrow Connector 134">
                <a:extLst>
                  <a:ext uri="{FF2B5EF4-FFF2-40B4-BE49-F238E27FC236}">
                    <a16:creationId xmlns:a16="http://schemas.microsoft.com/office/drawing/2014/main" id="{75F2AF21-C733-4E6A-B22B-1C6DF14D29DB}"/>
                  </a:ext>
                </a:extLst>
              </p:cNvPr>
              <p:cNvCxnSpPr>
                <a:cxnSpLocks/>
                <a:stCxn id="127" idx="4"/>
                <a:endCxn id="124" idx="0"/>
              </p:cNvCxnSpPr>
              <p:nvPr/>
            </p:nvCxnSpPr>
            <p:spPr>
              <a:xfrm>
                <a:off x="3151055" y="2384125"/>
                <a:ext cx="193733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5C1E252-97EF-40CB-B1BE-73FBAD54D353}"/>
              </a:ext>
            </a:extLst>
          </p:cNvPr>
          <p:cNvGrpSpPr/>
          <p:nvPr/>
        </p:nvGrpSpPr>
        <p:grpSpPr>
          <a:xfrm>
            <a:off x="2788275" y="3924504"/>
            <a:ext cx="6419226" cy="1134142"/>
            <a:chOff x="2788275" y="3850825"/>
            <a:chExt cx="6419226" cy="1134142"/>
          </a:xfrm>
        </p:grpSpPr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4D5D44A-3C30-46A8-AB89-A68E7E2190CD}"/>
                </a:ext>
              </a:extLst>
            </p:cNvPr>
            <p:cNvGrpSpPr/>
            <p:nvPr/>
          </p:nvGrpSpPr>
          <p:grpSpPr>
            <a:xfrm>
              <a:off x="2788275" y="3850825"/>
              <a:ext cx="1527709" cy="1134142"/>
              <a:chOff x="2788275" y="1719293"/>
              <a:chExt cx="1527709" cy="1134142"/>
            </a:xfrm>
          </p:grpSpPr>
          <p:sp>
            <p:nvSpPr>
              <p:cNvPr id="137" name="Rectangle 136">
                <a:extLst>
                  <a:ext uri="{FF2B5EF4-FFF2-40B4-BE49-F238E27FC236}">
                    <a16:creationId xmlns:a16="http://schemas.microsoft.com/office/drawing/2014/main" id="{683C97BF-F1B7-466A-948A-BCFC5D3A2999}"/>
                  </a:ext>
                </a:extLst>
              </p:cNvPr>
              <p:cNvSpPr/>
              <p:nvPr/>
            </p:nvSpPr>
            <p:spPr>
              <a:xfrm>
                <a:off x="2788275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B61179FA-6315-4203-9D7D-494B077761B6}"/>
                  </a:ext>
                </a:extLst>
              </p:cNvPr>
              <p:cNvSpPr/>
              <p:nvPr/>
            </p:nvSpPr>
            <p:spPr>
              <a:xfrm>
                <a:off x="3202957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" name="Rectangle 140">
                <a:extLst>
                  <a:ext uri="{FF2B5EF4-FFF2-40B4-BE49-F238E27FC236}">
                    <a16:creationId xmlns:a16="http://schemas.microsoft.com/office/drawing/2014/main" id="{9A78ECCA-E0F7-420E-86FB-B91E7BF2547F}"/>
                  </a:ext>
                </a:extLst>
              </p:cNvPr>
              <p:cNvSpPr/>
              <p:nvPr/>
            </p:nvSpPr>
            <p:spPr>
              <a:xfrm>
                <a:off x="3617640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" name="Rectangle 142">
                <a:extLst>
                  <a:ext uri="{FF2B5EF4-FFF2-40B4-BE49-F238E27FC236}">
                    <a16:creationId xmlns:a16="http://schemas.microsoft.com/office/drawing/2014/main" id="{B9CBB5C7-8393-46AB-A6CC-F2C1C5C1203D}"/>
                  </a:ext>
                </a:extLst>
              </p:cNvPr>
              <p:cNvSpPr/>
              <p:nvPr/>
            </p:nvSpPr>
            <p:spPr>
              <a:xfrm>
                <a:off x="4032322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4" name="Oval 143">
                <a:extLst>
                  <a:ext uri="{FF2B5EF4-FFF2-40B4-BE49-F238E27FC236}">
                    <a16:creationId xmlns:a16="http://schemas.microsoft.com/office/drawing/2014/main" id="{476490B7-E77D-4942-BB44-497B607CAEE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017949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EABAA009-AB41-42AB-973F-EFC87A87103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40485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6" name="Oval 145">
                <a:extLst>
                  <a:ext uri="{FF2B5EF4-FFF2-40B4-BE49-F238E27FC236}">
                    <a16:creationId xmlns:a16="http://schemas.microsoft.com/office/drawing/2014/main" id="{E1622AD3-95C4-4E04-B96D-2F680117AF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429217" y="1719293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47" name="Straight Arrow Connector 146">
                <a:extLst>
                  <a:ext uri="{FF2B5EF4-FFF2-40B4-BE49-F238E27FC236}">
                    <a16:creationId xmlns:a16="http://schemas.microsoft.com/office/drawing/2014/main" id="{E01C0172-E92D-4140-9975-36B0E97B4AAC}"/>
                  </a:ext>
                </a:extLst>
              </p:cNvPr>
              <p:cNvCxnSpPr>
                <a:stCxn id="146" idx="3"/>
                <a:endCxn id="144" idx="7"/>
              </p:cNvCxnSpPr>
              <p:nvPr/>
            </p:nvCxnSpPr>
            <p:spPr>
              <a:xfrm flipH="1">
                <a:off x="3245174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Arrow Connector 147">
                <a:extLst>
                  <a:ext uri="{FF2B5EF4-FFF2-40B4-BE49-F238E27FC236}">
                    <a16:creationId xmlns:a16="http://schemas.microsoft.com/office/drawing/2014/main" id="{5E978812-ADB8-4F3A-AB1F-0831962BF659}"/>
                  </a:ext>
                </a:extLst>
              </p:cNvPr>
              <p:cNvCxnSpPr>
                <a:cxnSpLocks/>
                <a:stCxn id="146" idx="5"/>
                <a:endCxn id="145" idx="1"/>
              </p:cNvCxnSpPr>
              <p:nvPr/>
            </p:nvCxnSpPr>
            <p:spPr>
              <a:xfrm>
                <a:off x="3656442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Arrow Connector 148">
                <a:extLst>
                  <a:ext uri="{FF2B5EF4-FFF2-40B4-BE49-F238E27FC236}">
                    <a16:creationId xmlns:a16="http://schemas.microsoft.com/office/drawing/2014/main" id="{2B6DB949-C543-46DC-BEC4-FB037074F191}"/>
                  </a:ext>
                </a:extLst>
              </p:cNvPr>
              <p:cNvCxnSpPr>
                <a:cxnSpLocks/>
                <a:stCxn id="145" idx="4"/>
                <a:endCxn id="143" idx="0"/>
              </p:cNvCxnSpPr>
              <p:nvPr/>
            </p:nvCxnSpPr>
            <p:spPr>
              <a:xfrm>
                <a:off x="3973591" y="2384125"/>
                <a:ext cx="200562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Arrow Connector 149">
                <a:extLst>
                  <a:ext uri="{FF2B5EF4-FFF2-40B4-BE49-F238E27FC236}">
                    <a16:creationId xmlns:a16="http://schemas.microsoft.com/office/drawing/2014/main" id="{87197CED-474D-457B-B364-B0F9ADAF46B1}"/>
                  </a:ext>
                </a:extLst>
              </p:cNvPr>
              <p:cNvCxnSpPr>
                <a:cxnSpLocks/>
                <a:stCxn id="145" idx="4"/>
                <a:endCxn id="141" idx="0"/>
              </p:cNvCxnSpPr>
              <p:nvPr/>
            </p:nvCxnSpPr>
            <p:spPr>
              <a:xfrm flipH="1">
                <a:off x="3759471" y="2384125"/>
                <a:ext cx="214120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Arrow Connector 150">
                <a:extLst>
                  <a:ext uri="{FF2B5EF4-FFF2-40B4-BE49-F238E27FC236}">
                    <a16:creationId xmlns:a16="http://schemas.microsoft.com/office/drawing/2014/main" id="{29102A68-46EE-4F04-924E-05A7D6689214}"/>
                  </a:ext>
                </a:extLst>
              </p:cNvPr>
              <p:cNvCxnSpPr>
                <a:cxnSpLocks/>
                <a:stCxn id="144" idx="4"/>
                <a:endCxn id="137" idx="0"/>
              </p:cNvCxnSpPr>
              <p:nvPr/>
            </p:nvCxnSpPr>
            <p:spPr>
              <a:xfrm flipH="1">
                <a:off x="2930106" y="2384125"/>
                <a:ext cx="220949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Arrow Connector 151">
                <a:extLst>
                  <a:ext uri="{FF2B5EF4-FFF2-40B4-BE49-F238E27FC236}">
                    <a16:creationId xmlns:a16="http://schemas.microsoft.com/office/drawing/2014/main" id="{AF7CD98B-8539-4DED-BBF0-23405792675B}"/>
                  </a:ext>
                </a:extLst>
              </p:cNvPr>
              <p:cNvCxnSpPr>
                <a:cxnSpLocks/>
                <a:stCxn id="144" idx="4"/>
                <a:endCxn id="139" idx="0"/>
              </p:cNvCxnSpPr>
              <p:nvPr/>
            </p:nvCxnSpPr>
            <p:spPr>
              <a:xfrm>
                <a:off x="3151055" y="2384125"/>
                <a:ext cx="193733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869CF8E6-7027-4B91-8C39-40AE2C49CA10}"/>
                </a:ext>
              </a:extLst>
            </p:cNvPr>
            <p:cNvGrpSpPr/>
            <p:nvPr/>
          </p:nvGrpSpPr>
          <p:grpSpPr>
            <a:xfrm>
              <a:off x="7679792" y="3850825"/>
              <a:ext cx="1527709" cy="1134142"/>
              <a:chOff x="2788275" y="1719293"/>
              <a:chExt cx="1527709" cy="1134142"/>
            </a:xfrm>
          </p:grpSpPr>
          <p:sp>
            <p:nvSpPr>
              <p:cNvPr id="154" name="Rectangle 153">
                <a:extLst>
                  <a:ext uri="{FF2B5EF4-FFF2-40B4-BE49-F238E27FC236}">
                    <a16:creationId xmlns:a16="http://schemas.microsoft.com/office/drawing/2014/main" id="{3E816636-FFE4-4C63-B079-5FCE3AD881F2}"/>
                  </a:ext>
                </a:extLst>
              </p:cNvPr>
              <p:cNvSpPr/>
              <p:nvPr/>
            </p:nvSpPr>
            <p:spPr>
              <a:xfrm>
                <a:off x="2788275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5" name="Rectangle 154">
                <a:extLst>
                  <a:ext uri="{FF2B5EF4-FFF2-40B4-BE49-F238E27FC236}">
                    <a16:creationId xmlns:a16="http://schemas.microsoft.com/office/drawing/2014/main" id="{47BECF98-3041-456D-A6CF-BD0735F9F46D}"/>
                  </a:ext>
                </a:extLst>
              </p:cNvPr>
              <p:cNvSpPr/>
              <p:nvPr/>
            </p:nvSpPr>
            <p:spPr>
              <a:xfrm>
                <a:off x="3202957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6" name="Rectangle 155">
                <a:extLst>
                  <a:ext uri="{FF2B5EF4-FFF2-40B4-BE49-F238E27FC236}">
                    <a16:creationId xmlns:a16="http://schemas.microsoft.com/office/drawing/2014/main" id="{F2240708-1323-430D-B041-1D1C31BE7CA0}"/>
                  </a:ext>
                </a:extLst>
              </p:cNvPr>
              <p:cNvSpPr/>
              <p:nvPr/>
            </p:nvSpPr>
            <p:spPr>
              <a:xfrm>
                <a:off x="3617640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7" name="Rectangle 156">
                <a:extLst>
                  <a:ext uri="{FF2B5EF4-FFF2-40B4-BE49-F238E27FC236}">
                    <a16:creationId xmlns:a16="http://schemas.microsoft.com/office/drawing/2014/main" id="{9FBBBBC4-4D63-446F-B312-6BE0DFCADCCC}"/>
                  </a:ext>
                </a:extLst>
              </p:cNvPr>
              <p:cNvSpPr/>
              <p:nvPr/>
            </p:nvSpPr>
            <p:spPr>
              <a:xfrm>
                <a:off x="4032322" y="2588289"/>
                <a:ext cx="283662" cy="265146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8" name="Oval 157">
                <a:extLst>
                  <a:ext uri="{FF2B5EF4-FFF2-40B4-BE49-F238E27FC236}">
                    <a16:creationId xmlns:a16="http://schemas.microsoft.com/office/drawing/2014/main" id="{001AD49E-77AB-48D7-A601-FB13A7CD0A6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017949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D093824D-AE8F-4309-8BAF-B1FBD686D9A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40485" y="2118979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0" name="Oval 159">
                <a:extLst>
                  <a:ext uri="{FF2B5EF4-FFF2-40B4-BE49-F238E27FC236}">
                    <a16:creationId xmlns:a16="http://schemas.microsoft.com/office/drawing/2014/main" id="{F6F365CC-C42B-4863-89EF-A821813A62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429217" y="1719293"/>
                <a:ext cx="266211" cy="265146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61" name="Straight Arrow Connector 160">
                <a:extLst>
                  <a:ext uri="{FF2B5EF4-FFF2-40B4-BE49-F238E27FC236}">
                    <a16:creationId xmlns:a16="http://schemas.microsoft.com/office/drawing/2014/main" id="{9F09AB0F-FB06-46FB-8043-1EA86A733B91}"/>
                  </a:ext>
                </a:extLst>
              </p:cNvPr>
              <p:cNvCxnSpPr>
                <a:stCxn id="160" idx="3"/>
                <a:endCxn id="158" idx="7"/>
              </p:cNvCxnSpPr>
              <p:nvPr/>
            </p:nvCxnSpPr>
            <p:spPr>
              <a:xfrm flipH="1">
                <a:off x="3245174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Arrow Connector 161">
                <a:extLst>
                  <a:ext uri="{FF2B5EF4-FFF2-40B4-BE49-F238E27FC236}">
                    <a16:creationId xmlns:a16="http://schemas.microsoft.com/office/drawing/2014/main" id="{B78AF389-5429-4A1C-B3DB-AEAC06812CA2}"/>
                  </a:ext>
                </a:extLst>
              </p:cNvPr>
              <p:cNvCxnSpPr>
                <a:cxnSpLocks/>
                <a:stCxn id="160" idx="5"/>
                <a:endCxn id="159" idx="1"/>
              </p:cNvCxnSpPr>
              <p:nvPr/>
            </p:nvCxnSpPr>
            <p:spPr>
              <a:xfrm>
                <a:off x="3656442" y="1945609"/>
                <a:ext cx="223029" cy="212200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Arrow Connector 162">
                <a:extLst>
                  <a:ext uri="{FF2B5EF4-FFF2-40B4-BE49-F238E27FC236}">
                    <a16:creationId xmlns:a16="http://schemas.microsoft.com/office/drawing/2014/main" id="{8AB78347-4BA8-4387-A79B-FBF475C2A992}"/>
                  </a:ext>
                </a:extLst>
              </p:cNvPr>
              <p:cNvCxnSpPr>
                <a:cxnSpLocks/>
                <a:stCxn id="159" idx="4"/>
                <a:endCxn id="157" idx="0"/>
              </p:cNvCxnSpPr>
              <p:nvPr/>
            </p:nvCxnSpPr>
            <p:spPr>
              <a:xfrm>
                <a:off x="3973591" y="2384125"/>
                <a:ext cx="200562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Arrow Connector 163">
                <a:extLst>
                  <a:ext uri="{FF2B5EF4-FFF2-40B4-BE49-F238E27FC236}">
                    <a16:creationId xmlns:a16="http://schemas.microsoft.com/office/drawing/2014/main" id="{709095D8-D7E9-413B-9D67-C8170FBDA9D6}"/>
                  </a:ext>
                </a:extLst>
              </p:cNvPr>
              <p:cNvCxnSpPr>
                <a:cxnSpLocks/>
                <a:stCxn id="159" idx="4"/>
                <a:endCxn id="156" idx="0"/>
              </p:cNvCxnSpPr>
              <p:nvPr/>
            </p:nvCxnSpPr>
            <p:spPr>
              <a:xfrm flipH="1">
                <a:off x="3759471" y="2384125"/>
                <a:ext cx="214120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Arrow Connector 164">
                <a:extLst>
                  <a:ext uri="{FF2B5EF4-FFF2-40B4-BE49-F238E27FC236}">
                    <a16:creationId xmlns:a16="http://schemas.microsoft.com/office/drawing/2014/main" id="{915D4EC9-B79F-44CA-828E-B1320A98E13C}"/>
                  </a:ext>
                </a:extLst>
              </p:cNvPr>
              <p:cNvCxnSpPr>
                <a:cxnSpLocks/>
                <a:stCxn id="158" idx="4"/>
                <a:endCxn id="154" idx="0"/>
              </p:cNvCxnSpPr>
              <p:nvPr/>
            </p:nvCxnSpPr>
            <p:spPr>
              <a:xfrm flipH="1">
                <a:off x="2930106" y="2384125"/>
                <a:ext cx="220949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Arrow Connector 165">
                <a:extLst>
                  <a:ext uri="{FF2B5EF4-FFF2-40B4-BE49-F238E27FC236}">
                    <a16:creationId xmlns:a16="http://schemas.microsoft.com/office/drawing/2014/main" id="{FD847894-04CE-4470-ADD1-3646C7B5E37A}"/>
                  </a:ext>
                </a:extLst>
              </p:cNvPr>
              <p:cNvCxnSpPr>
                <a:cxnSpLocks/>
                <a:stCxn id="158" idx="4"/>
                <a:endCxn id="155" idx="0"/>
              </p:cNvCxnSpPr>
              <p:nvPr/>
            </p:nvCxnSpPr>
            <p:spPr>
              <a:xfrm>
                <a:off x="3151055" y="2384125"/>
                <a:ext cx="193733" cy="204164"/>
              </a:xfrm>
              <a:prstGeom prst="straightConnector1">
                <a:avLst/>
              </a:prstGeom>
              <a:ln w="190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ounded Rectangle 120">
            <a:extLst>
              <a:ext uri="{FF2B5EF4-FFF2-40B4-BE49-F238E27FC236}">
                <a16:creationId xmlns:a16="http://schemas.microsoft.com/office/drawing/2014/main" id="{03D642C7-B91B-0442-A744-418F08BF3104}"/>
              </a:ext>
            </a:extLst>
          </p:cNvPr>
          <p:cNvSpPr/>
          <p:nvPr/>
        </p:nvSpPr>
        <p:spPr>
          <a:xfrm>
            <a:off x="8241792" y="6491286"/>
            <a:ext cx="3072384" cy="23018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2775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03F2655-B4E5-4F9E-8AF3-DE6BA9E2A5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95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03F2655-B4E5-4F9E-8AF3-DE6BA9E2A5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9CE43EE-2DBB-4F7A-A224-FA36D05C6F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47A175-21E2-9145-B4A6-C169BCC4E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of Thumb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273C7BD7-4037-E843-9E74-96B3E3ED9BAF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7"/>
          <a:stretch>
            <a:fillRect/>
          </a:stretch>
        </p:blipFill>
        <p:spPr>
          <a:xfrm>
            <a:off x="236601" y="1696593"/>
            <a:ext cx="11077575" cy="3841750"/>
          </a:xfrm>
        </p:spPr>
      </p:pic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EC89D655-D2EE-2948-8426-C36A6C6E3B80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2471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156852-D8DC-564E-AE38-8EA276A830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a fore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5D6D1C-2E60-C841-937E-8CC1A52B18F1}"/>
              </a:ext>
            </a:extLst>
          </p:cNvPr>
          <p:cNvSpPr>
            <a:spLocks noGrp="1"/>
          </p:cNvSpPr>
          <p:nvPr>
            <p:ph idx="4294967295"/>
            <p:custDataLst>
              <p:tags r:id="rId1"/>
            </p:custDataLst>
          </p:nvPr>
        </p:nvSpPr>
        <p:spPr>
          <a:xfrm>
            <a:off x="1559497" y="2098674"/>
            <a:ext cx="9194800" cy="2524125"/>
          </a:xfrm>
        </p:spPr>
        <p:txBody>
          <a:bodyPr wrap="none">
            <a:spAutoFit/>
          </a:bodyPr>
          <a:lstStyle/>
          <a:p>
            <a:pPr lvl="2">
              <a:spcBef>
                <a:spcPct val="25000"/>
              </a:spcBef>
            </a:pPr>
            <a:r>
              <a:rPr lang="en-GB" sz="2400" dirty="0"/>
              <a:t>Dividing training examples into </a:t>
            </a:r>
            <a:r>
              <a:rPr lang="en-GB" sz="2400" i="1" dirty="0"/>
              <a:t>T</a:t>
            </a:r>
            <a:r>
              <a:rPr lang="en-GB" sz="2400" dirty="0"/>
              <a:t> subsets improves generalization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</a:pPr>
            <a:r>
              <a:rPr lang="en-GB" sz="2400" dirty="0"/>
              <a:t>Reduces memory requirements &amp; training time</a:t>
            </a:r>
          </a:p>
          <a:p>
            <a:pPr lvl="2">
              <a:spcBef>
                <a:spcPct val="25000"/>
              </a:spcBef>
            </a:pPr>
            <a:r>
              <a:rPr lang="en-GB" sz="2400" dirty="0"/>
              <a:t>Train each decision tree </a:t>
            </a:r>
            <a:r>
              <a:rPr lang="en-GB" sz="2400" i="1" dirty="0"/>
              <a:t>t</a:t>
            </a:r>
            <a:r>
              <a:rPr lang="en-GB" sz="2400" dirty="0"/>
              <a:t> on subset </a:t>
            </a:r>
            <a:r>
              <a:rPr lang="en-GB" sz="2400" i="1" dirty="0"/>
              <a:t>It</a:t>
            </a:r>
            <a:r>
              <a:rPr lang="en-GB" sz="2400" dirty="0"/>
              <a:t>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</a:pPr>
            <a:r>
              <a:rPr lang="en-GB" sz="2400" dirty="0"/>
              <a:t>Same decision tree learning as before</a:t>
            </a:r>
          </a:p>
          <a:p>
            <a:pPr lvl="2">
              <a:spcBef>
                <a:spcPct val="25000"/>
              </a:spcBef>
            </a:pPr>
            <a:r>
              <a:rPr lang="en-GB" sz="2400" dirty="0"/>
              <a:t>Multi-core friendly (GPU implementation)</a:t>
            </a:r>
            <a:endParaRPr lang="en-US" sz="2400" dirty="0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CEE0C010-9836-DA47-B63D-078D28581CFA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3956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6C6E6D-3F2C-D146-97B2-3F2CFA65B9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os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710A89-0FE3-41F9-8BE3-A4991BB7CD0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181523" y="2291656"/>
            <a:ext cx="7632730" cy="255454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 iterative procedure to adaptively change distribution of training data by focusing more on previously misclassified records 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itially, all 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ecords are assigned equal weights 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like bagging, weights may change at the end of boosting round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BD8C99F1-044C-1947-B2D4-4A743FC6AD77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97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031F628-2323-457A-B113-F928F47662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97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031F628-2323-457A-B113-F928F47662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C37B6A1-8B77-4703-8838-B742667B783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69ECD8-CEF2-EB41-909D-D2BC31D006EE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Boosting explained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494A8AC-2EE6-D64B-9B5C-2CCB090E9519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7"/>
          <a:stretch>
            <a:fillRect/>
          </a:stretch>
        </p:blipFill>
        <p:spPr>
          <a:xfrm>
            <a:off x="2171573" y="928116"/>
            <a:ext cx="6961188" cy="5448300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D742EE82-92EA-2B4C-ACA6-4D8DAE714A3F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78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83EF5C-3C5B-0C4E-A1BA-00ED5DE361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osting Intui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145A00-A6CE-6641-BB10-A624DCDEE26E}"/>
              </a:ext>
            </a:extLst>
          </p:cNvPr>
          <p:cNvSpPr>
            <a:spLocks noGrp="1"/>
          </p:cNvSpPr>
          <p:nvPr>
            <p:ph idx="4294967295"/>
            <p:custDataLst>
              <p:tags r:id="rId1"/>
            </p:custDataLst>
          </p:nvPr>
        </p:nvSpPr>
        <p:spPr>
          <a:xfrm>
            <a:off x="926592" y="1275556"/>
            <a:ext cx="9118600" cy="4170362"/>
          </a:xfrm>
          <a:prstGeom prst="rect">
            <a:avLst/>
          </a:prstGeom>
        </p:spPr>
        <p:txBody>
          <a:bodyPr>
            <a:spAutoFit/>
          </a:bodyPr>
          <a:lstStyle/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We adaptively weight each data case.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Data cases which are wrongly classified get high weight (the algorithm will focus on them).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Each boosting round learns a new (simple) classifier on the weighed dataset.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These classifiers are weighed to combine them into a single powerful classifier.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Classifiers that obtain low training error rate have high weight. </a:t>
            </a:r>
            <a:endParaRPr lang="en-GB" sz="2400" dirty="0">
              <a:effectLst/>
            </a:endParaRPr>
          </a:p>
          <a:p>
            <a:pPr lvl="2">
              <a:spcBef>
                <a:spcPct val="25000"/>
              </a:spcBef>
              <a:buClr>
                <a:schemeClr val="accent3"/>
              </a:buClr>
            </a:pPr>
            <a:r>
              <a:rPr lang="en-GB" sz="2400" dirty="0"/>
              <a:t>We stop by monitoring a hold out set. </a:t>
            </a:r>
            <a:endParaRPr lang="en-US" sz="2400" dirty="0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467C929-FDBB-DC48-BB2D-F1D2A852477E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895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5457" y="84156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66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15457" y="84156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DC33B4-54B1-4487-A198-7D151F5F1D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trees </a:t>
            </a:r>
            <a:endParaRPr lang="en-GB" dirty="0"/>
          </a:p>
        </p:txBody>
      </p:sp>
      <p:sp>
        <p:nvSpPr>
          <p:cNvPr id="30" name="5. Source"/>
          <p:cNvSpPr>
            <a:spLocks noChangeArrowheads="1"/>
          </p:cNvSpPr>
          <p:nvPr/>
        </p:nvSpPr>
        <p:spPr bwMode="gray">
          <a:xfrm>
            <a:off x="231648" y="6491286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cxnSp>
        <p:nvCxnSpPr>
          <p:cNvPr id="37" name="Straight Connector 36"/>
          <p:cNvCxnSpPr>
            <a:cxnSpLocks/>
          </p:cNvCxnSpPr>
          <p:nvPr/>
        </p:nvCxnSpPr>
        <p:spPr>
          <a:xfrm>
            <a:off x="1517976" y="4660507"/>
            <a:ext cx="8959825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D30779FF-BF31-4B47-B392-1119F2462102}"/>
              </a:ext>
            </a:extLst>
          </p:cNvPr>
          <p:cNvGrpSpPr/>
          <p:nvPr/>
        </p:nvGrpSpPr>
        <p:grpSpPr>
          <a:xfrm>
            <a:off x="1684888" y="1273852"/>
            <a:ext cx="8792913" cy="2044149"/>
            <a:chOff x="1684888" y="1273852"/>
            <a:chExt cx="8792913" cy="2044149"/>
          </a:xfrm>
        </p:grpSpPr>
        <p:sp>
          <p:nvSpPr>
            <p:cNvPr id="41" name="TextBox 40"/>
            <p:cNvSpPr txBox="1">
              <a:spLocks/>
            </p:cNvSpPr>
            <p:nvPr/>
          </p:nvSpPr>
          <p:spPr>
            <a:xfrm>
              <a:off x="2272205" y="1273852"/>
              <a:ext cx="8205596" cy="204414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00000"/>
                <a:defRPr lang="x-none" sz="1200" b="1" baseline="0">
                  <a:latin typeface="+mn-lt"/>
                </a:defRPr>
              </a:lvl1pPr>
              <a:lvl2pPr marL="1587" lvl="1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25000"/>
                <a:buFontTx/>
                <a:buNone/>
                <a:defRPr lang="x-none" sz="1200" b="0" baseline="0">
                  <a:latin typeface="+mn-lt"/>
                </a:defRPr>
              </a:lvl2pPr>
              <a:lvl3pPr marL="126206" lvl="2" indent="-126206" defTabSz="895395" eaLnBrk="1" latinLnBrk="0" hangingPunct="1">
                <a:spcAft>
                  <a:spcPts val="45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200" baseline="0">
                  <a:latin typeface="+mn-lt"/>
                </a:defRPr>
              </a:lvl3pPr>
              <a:lvl4pPr marL="263129" lvl="3" indent="-136922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4pPr>
              <a:lvl5pPr marL="434579" lvl="4" indent="-171450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200" baseline="0">
                  <a:solidFill>
                    <a:schemeClr val="accent6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1587" marR="0" lvl="1" indent="0" algn="l" defTabSz="895395" rtl="0" eaLnBrk="1" fontAlgn="base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450"/>
                </a:spcAft>
                <a:buClr>
                  <a:srgbClr val="FFFFFF"/>
                </a:buClr>
                <a:buSzPct val="125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What is it?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A systematic approach to segment the space of your predictors into a number of </a:t>
              </a:r>
              <a:b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simple regions:</a:t>
              </a:r>
            </a:p>
            <a:p>
              <a:pPr marL="403223" marR="0" lvl="2" indent="-223837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−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we use if-then statements to define patterns in data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We understand average behavior/response of each region (using mean or mode)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Then we classify the region with a single dependent variable label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We will then have a tree for predictions</a:t>
              </a:r>
            </a:p>
          </p:txBody>
        </p:sp>
        <p:sp>
          <p:nvSpPr>
            <p:cNvPr id="18" name="object 12">
              <a:extLst>
                <a:ext uri="{FF2B5EF4-FFF2-40B4-BE49-F238E27FC236}">
                  <a16:creationId xmlns:a16="http://schemas.microsoft.com/office/drawing/2014/main" id="{145E5B20-D4DB-42F1-8145-B04C4D128BBF}"/>
                </a:ext>
              </a:extLst>
            </p:cNvPr>
            <p:cNvSpPr/>
            <p:nvPr/>
          </p:nvSpPr>
          <p:spPr>
            <a:xfrm>
              <a:off x="1684888" y="1678299"/>
              <a:ext cx="296206" cy="571457"/>
            </a:xfrm>
            <a:custGeom>
              <a:avLst/>
              <a:gdLst/>
              <a:ahLst/>
              <a:cxnLst/>
              <a:rect l="l" t="t" r="r" b="b"/>
              <a:pathLst>
                <a:path w="394969" h="762000">
                  <a:moveTo>
                    <a:pt x="0" y="762000"/>
                  </a:moveTo>
                  <a:lnTo>
                    <a:pt x="394716" y="762000"/>
                  </a:lnTo>
                  <a:lnTo>
                    <a:pt x="394716" y="0"/>
                  </a:lnTo>
                  <a:lnTo>
                    <a:pt x="0" y="0"/>
                  </a:lnTo>
                  <a:lnTo>
                    <a:pt x="0" y="762000"/>
                  </a:lnTo>
                  <a:close/>
                </a:path>
              </a:pathLst>
            </a:custGeom>
            <a:noFill/>
            <a:ln w="38100">
              <a:solidFill>
                <a:schemeClr val="accent3"/>
              </a:solidFill>
              <a:prstDash val="sys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72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MS PGothic" pitchFamily="34" charset="-128"/>
                <a:cs typeface="+mn-cs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DCA1F11-3A42-4854-8199-51B8931B9DB4}"/>
              </a:ext>
            </a:extLst>
          </p:cNvPr>
          <p:cNvGrpSpPr/>
          <p:nvPr/>
        </p:nvGrpSpPr>
        <p:grpSpPr>
          <a:xfrm>
            <a:off x="1624647" y="3635069"/>
            <a:ext cx="8853154" cy="866904"/>
            <a:chOff x="1624647" y="3538369"/>
            <a:chExt cx="8853154" cy="866904"/>
          </a:xfrm>
        </p:grpSpPr>
        <p:sp>
          <p:nvSpPr>
            <p:cNvPr id="49" name="TextBox 48"/>
            <p:cNvSpPr txBox="1">
              <a:spLocks/>
            </p:cNvSpPr>
            <p:nvPr/>
          </p:nvSpPr>
          <p:spPr>
            <a:xfrm>
              <a:off x="2272205" y="3538369"/>
              <a:ext cx="8205596" cy="86690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00000"/>
                <a:defRPr lang="x-none" sz="1200" b="1" baseline="0">
                  <a:latin typeface="+mn-lt"/>
                </a:defRPr>
              </a:lvl1pPr>
              <a:lvl2pPr marL="1587" lvl="1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25000"/>
                <a:buFontTx/>
                <a:buNone/>
                <a:defRPr lang="x-none" sz="1200" b="0" baseline="0">
                  <a:latin typeface="+mn-lt"/>
                </a:defRPr>
              </a:lvl2pPr>
              <a:lvl3pPr marL="126206" lvl="2" indent="-126206" defTabSz="895395" eaLnBrk="1" latinLnBrk="0" hangingPunct="1">
                <a:spcAft>
                  <a:spcPts val="45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200" baseline="0">
                  <a:latin typeface="+mn-lt"/>
                </a:defRPr>
              </a:lvl3pPr>
              <a:lvl4pPr marL="263129" lvl="3" indent="-136922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4pPr>
              <a:lvl5pPr marL="434579" lvl="4" indent="-171450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200" baseline="0">
                  <a:solidFill>
                    <a:schemeClr val="accent6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1587" marR="0" lvl="1" indent="0" algn="l" defTabSz="895395" rtl="0" eaLnBrk="1" fontAlgn="base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450"/>
                </a:spcAft>
                <a:buClr>
                  <a:srgbClr val="FFFFFF"/>
                </a:buClr>
                <a:buSzPct val="125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Why use it?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Output is highly visual and easy to interpret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Neither linearity of relation nor independence of parameters is required</a:t>
              </a:r>
            </a:p>
          </p:txBody>
        </p:sp>
        <p:sp>
          <p:nvSpPr>
            <p:cNvPr id="19" name="object 15">
              <a:extLst>
                <a:ext uri="{FF2B5EF4-FFF2-40B4-BE49-F238E27FC236}">
                  <a16:creationId xmlns:a16="http://schemas.microsoft.com/office/drawing/2014/main" id="{FCF041BF-1CD7-4AA8-9028-D75492846484}"/>
                </a:ext>
              </a:extLst>
            </p:cNvPr>
            <p:cNvSpPr txBox="1"/>
            <p:nvPr/>
          </p:nvSpPr>
          <p:spPr>
            <a:xfrm>
              <a:off x="1624647" y="3539075"/>
              <a:ext cx="416688" cy="86549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9524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5624" b="0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?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A804D26-D38A-4F95-8D59-787AC5D6A065}"/>
              </a:ext>
            </a:extLst>
          </p:cNvPr>
          <p:cNvGrpSpPr/>
          <p:nvPr/>
        </p:nvGrpSpPr>
        <p:grpSpPr>
          <a:xfrm>
            <a:off x="1517976" y="4819043"/>
            <a:ext cx="8959825" cy="1113125"/>
            <a:chOff x="1517976" y="4819043"/>
            <a:chExt cx="8959825" cy="1113125"/>
          </a:xfrm>
        </p:grpSpPr>
        <p:sp>
          <p:nvSpPr>
            <p:cNvPr id="56" name="TextBox 55"/>
            <p:cNvSpPr txBox="1">
              <a:spLocks/>
            </p:cNvSpPr>
            <p:nvPr/>
          </p:nvSpPr>
          <p:spPr>
            <a:xfrm>
              <a:off x="2272205" y="4819043"/>
              <a:ext cx="8205596" cy="1113125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00000"/>
                <a:defRPr lang="x-none" sz="1200" b="1" baseline="0">
                  <a:latin typeface="+mn-lt"/>
                </a:defRPr>
              </a:lvl1pPr>
              <a:lvl2pPr marL="1587" lvl="1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25000"/>
                <a:buFontTx/>
                <a:buNone/>
                <a:defRPr lang="x-none" sz="1200" b="0" baseline="0">
                  <a:latin typeface="+mn-lt"/>
                </a:defRPr>
              </a:lvl2pPr>
              <a:lvl3pPr marL="126206" lvl="2" indent="-126206" defTabSz="895395" eaLnBrk="1" latinLnBrk="0" hangingPunct="1">
                <a:spcAft>
                  <a:spcPts val="45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200" baseline="0">
                  <a:latin typeface="+mn-lt"/>
                </a:defRPr>
              </a:lvl3pPr>
              <a:lvl4pPr marL="263129" lvl="3" indent="-136922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4pPr>
              <a:lvl5pPr marL="434579" lvl="4" indent="-171450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200" baseline="0">
                  <a:solidFill>
                    <a:schemeClr val="accent6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1587" marR="0" lvl="1" indent="0" algn="l" defTabSz="895395" rtl="0" eaLnBrk="1" fontAlgn="base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450"/>
                </a:spcAft>
                <a:buClr>
                  <a:srgbClr val="FFFFFF"/>
                </a:buClr>
                <a:buSzPct val="125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When to use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t?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When you have a clear hypothesis about what to solve for</a:t>
              </a:r>
            </a:p>
            <a:p>
              <a:pPr marL="180974" marR="0" lvl="2" indent="-180974" algn="l" defTabSz="8953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Prediction of segment-specific customer behavior (e.g., buying  decisions, churn rate, consumption rate)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C1816B0-933E-4590-B6DE-0629F3CE0973}"/>
                </a:ext>
              </a:extLst>
            </p:cNvPr>
            <p:cNvGrpSpPr/>
            <p:nvPr/>
          </p:nvGrpSpPr>
          <p:grpSpPr>
            <a:xfrm>
              <a:off x="1517976" y="5060589"/>
              <a:ext cx="630031" cy="630032"/>
              <a:chOff x="408239" y="4533286"/>
              <a:chExt cx="630041" cy="630042"/>
            </a:xfrm>
          </p:grpSpPr>
          <p:sp>
            <p:nvSpPr>
              <p:cNvPr id="21" name="object 18">
                <a:extLst>
                  <a:ext uri="{FF2B5EF4-FFF2-40B4-BE49-F238E27FC236}">
                    <a16:creationId xmlns:a16="http://schemas.microsoft.com/office/drawing/2014/main" id="{E321F127-3F32-4AEE-A0BD-F98E1624538E}"/>
                  </a:ext>
                </a:extLst>
              </p:cNvPr>
              <p:cNvSpPr/>
              <p:nvPr/>
            </p:nvSpPr>
            <p:spPr>
              <a:xfrm>
                <a:off x="408239" y="4533286"/>
                <a:ext cx="630041" cy="630042"/>
              </a:xfrm>
              <a:custGeom>
                <a:avLst/>
                <a:gdLst/>
                <a:ahLst/>
                <a:cxnLst/>
                <a:rect l="l" t="t" r="r" b="b"/>
                <a:pathLst>
                  <a:path w="840105" h="840104">
                    <a:moveTo>
                      <a:pt x="0" y="419862"/>
                    </a:moveTo>
                    <a:lnTo>
                      <a:pt x="2824" y="370893"/>
                    </a:lnTo>
                    <a:lnTo>
                      <a:pt x="11088" y="323585"/>
                    </a:lnTo>
                    <a:lnTo>
                      <a:pt x="24476" y="278252"/>
                    </a:lnTo>
                    <a:lnTo>
                      <a:pt x="42674" y="235209"/>
                    </a:lnTo>
                    <a:lnTo>
                      <a:pt x="65366" y="194770"/>
                    </a:lnTo>
                    <a:lnTo>
                      <a:pt x="92237" y="157251"/>
                    </a:lnTo>
                    <a:lnTo>
                      <a:pt x="122972" y="122967"/>
                    </a:lnTo>
                    <a:lnTo>
                      <a:pt x="157257" y="92233"/>
                    </a:lnTo>
                    <a:lnTo>
                      <a:pt x="194776" y="65362"/>
                    </a:lnTo>
                    <a:lnTo>
                      <a:pt x="235214" y="42672"/>
                    </a:lnTo>
                    <a:lnTo>
                      <a:pt x="278257" y="24475"/>
                    </a:lnTo>
                    <a:lnTo>
                      <a:pt x="323589" y="11087"/>
                    </a:lnTo>
                    <a:lnTo>
                      <a:pt x="370896" y="2824"/>
                    </a:lnTo>
                    <a:lnTo>
                      <a:pt x="419862" y="0"/>
                    </a:lnTo>
                    <a:lnTo>
                      <a:pt x="468830" y="2824"/>
                    </a:lnTo>
                    <a:lnTo>
                      <a:pt x="516138" y="11087"/>
                    </a:lnTo>
                    <a:lnTo>
                      <a:pt x="561471" y="24475"/>
                    </a:lnTo>
                    <a:lnTo>
                      <a:pt x="604514" y="42672"/>
                    </a:lnTo>
                    <a:lnTo>
                      <a:pt x="644953" y="65362"/>
                    </a:lnTo>
                    <a:lnTo>
                      <a:pt x="682472" y="92233"/>
                    </a:lnTo>
                    <a:lnTo>
                      <a:pt x="716756" y="122967"/>
                    </a:lnTo>
                    <a:lnTo>
                      <a:pt x="747490" y="157251"/>
                    </a:lnTo>
                    <a:lnTo>
                      <a:pt x="774361" y="194770"/>
                    </a:lnTo>
                    <a:lnTo>
                      <a:pt x="797052" y="235209"/>
                    </a:lnTo>
                    <a:lnTo>
                      <a:pt x="815248" y="278252"/>
                    </a:lnTo>
                    <a:lnTo>
                      <a:pt x="828636" y="323585"/>
                    </a:lnTo>
                    <a:lnTo>
                      <a:pt x="836899" y="370893"/>
                    </a:lnTo>
                    <a:lnTo>
                      <a:pt x="839724" y="419862"/>
                    </a:lnTo>
                    <a:lnTo>
                      <a:pt x="836899" y="468830"/>
                    </a:lnTo>
                    <a:lnTo>
                      <a:pt x="828636" y="516138"/>
                    </a:lnTo>
                    <a:lnTo>
                      <a:pt x="815248" y="561471"/>
                    </a:lnTo>
                    <a:lnTo>
                      <a:pt x="797052" y="604514"/>
                    </a:lnTo>
                    <a:lnTo>
                      <a:pt x="774361" y="644953"/>
                    </a:lnTo>
                    <a:lnTo>
                      <a:pt x="747490" y="682472"/>
                    </a:lnTo>
                    <a:lnTo>
                      <a:pt x="716756" y="716756"/>
                    </a:lnTo>
                    <a:lnTo>
                      <a:pt x="682472" y="747490"/>
                    </a:lnTo>
                    <a:lnTo>
                      <a:pt x="644953" y="774361"/>
                    </a:lnTo>
                    <a:lnTo>
                      <a:pt x="604514" y="797052"/>
                    </a:lnTo>
                    <a:lnTo>
                      <a:pt x="561471" y="815248"/>
                    </a:lnTo>
                    <a:lnTo>
                      <a:pt x="516138" y="828636"/>
                    </a:lnTo>
                    <a:lnTo>
                      <a:pt x="468830" y="836899"/>
                    </a:lnTo>
                    <a:lnTo>
                      <a:pt x="419862" y="839724"/>
                    </a:lnTo>
                    <a:lnTo>
                      <a:pt x="370896" y="836899"/>
                    </a:lnTo>
                    <a:lnTo>
                      <a:pt x="323589" y="828636"/>
                    </a:lnTo>
                    <a:lnTo>
                      <a:pt x="278257" y="815248"/>
                    </a:lnTo>
                    <a:lnTo>
                      <a:pt x="235214" y="797052"/>
                    </a:lnTo>
                    <a:lnTo>
                      <a:pt x="194776" y="774361"/>
                    </a:lnTo>
                    <a:lnTo>
                      <a:pt x="157257" y="747490"/>
                    </a:lnTo>
                    <a:lnTo>
                      <a:pt x="122972" y="716756"/>
                    </a:lnTo>
                    <a:lnTo>
                      <a:pt x="92237" y="682472"/>
                    </a:lnTo>
                    <a:lnTo>
                      <a:pt x="65366" y="644953"/>
                    </a:lnTo>
                    <a:lnTo>
                      <a:pt x="42674" y="604514"/>
                    </a:lnTo>
                    <a:lnTo>
                      <a:pt x="24476" y="561471"/>
                    </a:lnTo>
                    <a:lnTo>
                      <a:pt x="11088" y="516138"/>
                    </a:lnTo>
                    <a:lnTo>
                      <a:pt x="2824" y="468830"/>
                    </a:lnTo>
                    <a:lnTo>
                      <a:pt x="0" y="419862"/>
                    </a:lnTo>
                    <a:close/>
                  </a:path>
                </a:pathLst>
              </a:custGeom>
              <a:ln w="64007">
                <a:solidFill>
                  <a:schemeClr val="accent3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22" name="object 19">
                <a:extLst>
                  <a:ext uri="{FF2B5EF4-FFF2-40B4-BE49-F238E27FC236}">
                    <a16:creationId xmlns:a16="http://schemas.microsoft.com/office/drawing/2014/main" id="{43C72646-A74F-426E-8950-9E6E8E607674}"/>
                  </a:ext>
                </a:extLst>
              </p:cNvPr>
              <p:cNvSpPr/>
              <p:nvPr/>
            </p:nvSpPr>
            <p:spPr>
              <a:xfrm>
                <a:off x="720260" y="4749301"/>
                <a:ext cx="100007" cy="108579"/>
              </a:xfrm>
              <a:custGeom>
                <a:avLst/>
                <a:gdLst/>
                <a:ahLst/>
                <a:cxnLst/>
                <a:rect l="l" t="t" r="r" b="b"/>
                <a:pathLst>
                  <a:path w="133350" h="144779">
                    <a:moveTo>
                      <a:pt x="133350" y="0"/>
                    </a:moveTo>
                    <a:lnTo>
                      <a:pt x="0" y="144398"/>
                    </a:lnTo>
                  </a:path>
                </a:pathLst>
              </a:custGeom>
              <a:ln w="64008">
                <a:solidFill>
                  <a:schemeClr val="accent3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23" name="object 20">
                <a:extLst>
                  <a:ext uri="{FF2B5EF4-FFF2-40B4-BE49-F238E27FC236}">
                    <a16:creationId xmlns:a16="http://schemas.microsoft.com/office/drawing/2014/main" id="{6E1CB84A-E306-4EFF-B418-CF56C6565D48}"/>
                  </a:ext>
                </a:extLst>
              </p:cNvPr>
              <p:cNvSpPr/>
              <p:nvPr/>
            </p:nvSpPr>
            <p:spPr>
              <a:xfrm>
                <a:off x="639112" y="4607577"/>
                <a:ext cx="90482" cy="257160"/>
              </a:xfrm>
              <a:custGeom>
                <a:avLst/>
                <a:gdLst/>
                <a:ahLst/>
                <a:cxnLst/>
                <a:rect l="l" t="t" r="r" b="b"/>
                <a:pathLst>
                  <a:path w="120650" h="342900">
                    <a:moveTo>
                      <a:pt x="0" y="0"/>
                    </a:moveTo>
                    <a:lnTo>
                      <a:pt x="120650" y="342899"/>
                    </a:lnTo>
                  </a:path>
                </a:pathLst>
              </a:custGeom>
              <a:ln w="64008">
                <a:solidFill>
                  <a:schemeClr val="accent3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DD7DAA7-1761-415A-8665-646EE32B5948}"/>
              </a:ext>
            </a:extLst>
          </p:cNvPr>
          <p:cNvCxnSpPr>
            <a:cxnSpLocks/>
          </p:cNvCxnSpPr>
          <p:nvPr/>
        </p:nvCxnSpPr>
        <p:spPr>
          <a:xfrm>
            <a:off x="1517976" y="3476535"/>
            <a:ext cx="8959825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978AB991-B4E6-D84E-934C-5866E3699EAF}"/>
              </a:ext>
            </a:extLst>
          </p:cNvPr>
          <p:cNvSpPr txBox="1"/>
          <p:nvPr/>
        </p:nvSpPr>
        <p:spPr>
          <a:xfrm>
            <a:off x="11025554" y="655906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lang="en-US" b="0" dirty="0"/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0BD9AD7C-1C4C-3448-A7DF-0343A89F3850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0225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856AA3-6A77-B34F-BB5B-597200D95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re are dozens of u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2B1A20-6E54-8545-85A6-DE6C3E1BD7C8}"/>
              </a:ext>
            </a:extLst>
          </p:cNvPr>
          <p:cNvSpPr>
            <a:spLocks noGrp="1"/>
          </p:cNvSpPr>
          <p:nvPr>
            <p:ph idx="4294967295"/>
            <p:custDataLst>
              <p:tags r:id="rId1"/>
            </p:custDataLst>
          </p:nvPr>
        </p:nvSpPr>
        <p:spPr>
          <a:xfrm>
            <a:off x="1048512" y="1564226"/>
            <a:ext cx="5387975" cy="38782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2">
              <a:spcBef>
                <a:spcPct val="25000"/>
              </a:spcBef>
            </a:pPr>
            <a:r>
              <a:rPr lang="en-US" sz="2400" dirty="0"/>
              <a:t>AdaBoost (Adaptive Boosting)</a:t>
            </a:r>
          </a:p>
          <a:p>
            <a:pPr lvl="2">
              <a:spcBef>
                <a:spcPct val="25000"/>
              </a:spcBef>
            </a:pPr>
            <a:r>
              <a:rPr lang="en-US" sz="2400" dirty="0"/>
              <a:t>Gradient Boosting</a:t>
            </a:r>
          </a:p>
          <a:p>
            <a:pPr lvl="2">
              <a:spcBef>
                <a:spcPct val="25000"/>
              </a:spcBef>
            </a:pPr>
            <a:r>
              <a:rPr lang="en-US" sz="2400" dirty="0" err="1"/>
              <a:t>XGBoost</a:t>
            </a:r>
            <a:r>
              <a:rPr lang="en-US" sz="2400" dirty="0"/>
              <a:t> (Extreme Gradient Boosting)</a:t>
            </a:r>
          </a:p>
          <a:p>
            <a:pPr lvl="2">
              <a:spcBef>
                <a:spcPct val="25000"/>
              </a:spcBef>
            </a:pPr>
            <a:r>
              <a:rPr lang="en-US" sz="2400" dirty="0" err="1"/>
              <a:t>Catboost</a:t>
            </a:r>
            <a:endParaRPr lang="en-US" sz="2400" dirty="0"/>
          </a:p>
          <a:p>
            <a:pPr>
              <a:spcBef>
                <a:spcPct val="100000"/>
              </a:spcBef>
            </a:pPr>
            <a:r>
              <a:rPr lang="en-US" sz="2400" b="1" dirty="0">
                <a:solidFill>
                  <a:schemeClr val="accent3"/>
                </a:solidFill>
              </a:rPr>
              <a:t>Less popular</a:t>
            </a:r>
          </a:p>
          <a:p>
            <a:pPr lvl="2">
              <a:spcBef>
                <a:spcPct val="25000"/>
              </a:spcBef>
            </a:pPr>
            <a:r>
              <a:rPr lang="en-US" sz="2400" dirty="0" err="1"/>
              <a:t>BrownBoost</a:t>
            </a:r>
            <a:endParaRPr lang="en-US" sz="2400" dirty="0"/>
          </a:p>
          <a:p>
            <a:pPr lvl="2">
              <a:spcBef>
                <a:spcPct val="25000"/>
              </a:spcBef>
            </a:pPr>
            <a:r>
              <a:rPr lang="en-US" sz="2400" dirty="0" err="1"/>
              <a:t>LogitBoost</a:t>
            </a:r>
            <a:endParaRPr lang="en-US" sz="24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BBAEF19-69E0-E44B-A021-B6244549508D}"/>
              </a:ext>
            </a:extLst>
          </p:cNvPr>
          <p:cNvSpPr txBox="1"/>
          <p:nvPr/>
        </p:nvSpPr>
        <p:spPr>
          <a:xfrm>
            <a:off x="8668512" y="6559296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lang="en-US" b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DE1EDBF-9FFC-004C-BE15-FDBE7E484029}"/>
              </a:ext>
            </a:extLst>
          </p:cNvPr>
          <p:cNvSpPr txBox="1"/>
          <p:nvPr/>
        </p:nvSpPr>
        <p:spPr>
          <a:xfrm>
            <a:off x="8205216" y="6486144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lang="en-US" b="0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46064C8-68D2-CD4E-9A92-68F17012A8C7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1909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5457" y="84156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691" name="think-cell Slide" r:id="rId23" imgW="338" imgH="338" progId="TCLayout.ActiveDocument.1">
                  <p:embed/>
                </p:oleObj>
              </mc:Choice>
              <mc:Fallback>
                <p:oleObj name="think-cell Slide" r:id="rId23" imgW="338" imgH="33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615457" y="84156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152B0DD-CE8D-456C-AA0A-FEA5B988CDD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Decision trees</a:t>
            </a:r>
          </a:p>
        </p:txBody>
      </p:sp>
      <p:sp>
        <p:nvSpPr>
          <p:cNvPr id="3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Data Science for Business by Foster Provost and Tom Fawcett, 2013.  Page 54.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ACC7C3F-0B5D-48D7-8D2D-280139866083}"/>
              </a:ext>
            </a:extLst>
          </p:cNvPr>
          <p:cNvSpPr>
            <a:spLocks/>
          </p:cNvSpPr>
          <p:nvPr/>
        </p:nvSpPr>
        <p:spPr>
          <a:xfrm>
            <a:off x="475488" y="961851"/>
            <a:ext cx="4960303" cy="498498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Body3 4">
            <a:extLst>
              <a:ext uri="{FF2B5EF4-FFF2-40B4-BE49-F238E27FC236}">
                <a16:creationId xmlns:a16="http://schemas.microsoft.com/office/drawing/2014/main" id="{EB9A22A4-5C43-4759-BA20-DA3B2BA0B05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024327" y="1218799"/>
            <a:ext cx="2957195" cy="4882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rt from the root of tree</a:t>
            </a:r>
          </a:p>
        </p:txBody>
      </p:sp>
      <p:sp>
        <p:nvSpPr>
          <p:cNvPr id="13" name="Body3 4">
            <a:extLst>
              <a:ext uri="{FF2B5EF4-FFF2-40B4-BE49-F238E27FC236}">
                <a16:creationId xmlns:a16="http://schemas.microsoft.com/office/drawing/2014/main" id="{48AE276C-9343-488C-BD8A-F6DD639C68F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905058" y="2232608"/>
            <a:ext cx="1195732" cy="4882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fund</a:t>
            </a:r>
          </a:p>
        </p:txBody>
      </p:sp>
      <p:sp>
        <p:nvSpPr>
          <p:cNvPr id="14" name="Body3 4">
            <a:extLst>
              <a:ext uri="{FF2B5EF4-FFF2-40B4-BE49-F238E27FC236}">
                <a16:creationId xmlns:a16="http://schemas.microsoft.com/office/drawing/2014/main" id="{5FFF6F28-0E5C-4603-A3FB-A459253133C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37808" y="3144227"/>
            <a:ext cx="1195732" cy="48826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</a:p>
        </p:txBody>
      </p:sp>
      <p:sp>
        <p:nvSpPr>
          <p:cNvPr id="15" name="Body3 4">
            <a:extLst>
              <a:ext uri="{FF2B5EF4-FFF2-40B4-BE49-F238E27FC236}">
                <a16:creationId xmlns:a16="http://schemas.microsoft.com/office/drawing/2014/main" id="{97E2D825-4E41-480F-9EF9-7445AA20EA96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531888" y="4960945"/>
            <a:ext cx="1195732" cy="48826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</a:t>
            </a:r>
          </a:p>
        </p:txBody>
      </p:sp>
      <p:sp>
        <p:nvSpPr>
          <p:cNvPr id="16" name="Body3 4">
            <a:extLst>
              <a:ext uri="{FF2B5EF4-FFF2-40B4-BE49-F238E27FC236}">
                <a16:creationId xmlns:a16="http://schemas.microsoft.com/office/drawing/2014/main" id="{C6BDA239-8817-4EE8-ACCD-23B4ED4E96F3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2879623" y="4960945"/>
            <a:ext cx="1195732" cy="48826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18FB29B-CD8F-4AF1-B9A9-FF104DF43570}"/>
              </a:ext>
            </a:extLst>
          </p:cNvPr>
          <p:cNvSpPr txBox="1"/>
          <p:nvPr/>
        </p:nvSpPr>
        <p:spPr>
          <a:xfrm>
            <a:off x="836783" y="2873848"/>
            <a:ext cx="333809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E5E1209-22A6-4122-AD07-05AD2FB643D9}"/>
              </a:ext>
            </a:extLst>
          </p:cNvPr>
          <p:cNvSpPr txBox="1"/>
          <p:nvPr/>
        </p:nvSpPr>
        <p:spPr>
          <a:xfrm>
            <a:off x="3870709" y="2873848"/>
            <a:ext cx="261290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568F757-C377-43F6-9977-3E8F2AD0EE99}"/>
              </a:ext>
            </a:extLst>
          </p:cNvPr>
          <p:cNvSpPr txBox="1"/>
          <p:nvPr/>
        </p:nvSpPr>
        <p:spPr>
          <a:xfrm>
            <a:off x="3366685" y="3144227"/>
            <a:ext cx="871937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riage statu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50CCC49-CC08-4504-85EE-FC1947A6A81C}"/>
              </a:ext>
            </a:extLst>
          </p:cNvPr>
          <p:cNvSpPr txBox="1"/>
          <p:nvPr/>
        </p:nvSpPr>
        <p:spPr>
          <a:xfrm>
            <a:off x="3661141" y="3717797"/>
            <a:ext cx="169213" cy="301621"/>
          </a:xfrm>
          <a:prstGeom prst="rect">
            <a:avLst/>
          </a:prstGeom>
        </p:spPr>
        <p:txBody>
          <a:bodyPr vert="horz" wrap="none" lIns="27432" tIns="27432" rIns="27432" bIns="27432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BE75328-9A52-49E7-BAFD-7E4594C930DC}"/>
              </a:ext>
            </a:extLst>
          </p:cNvPr>
          <p:cNvSpPr txBox="1"/>
          <p:nvPr/>
        </p:nvSpPr>
        <p:spPr>
          <a:xfrm>
            <a:off x="1170592" y="3774850"/>
            <a:ext cx="1490793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, Divorce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E7F94EB-C90B-473E-B186-4146D3848855}"/>
              </a:ext>
            </a:extLst>
          </p:cNvPr>
          <p:cNvSpPr txBox="1"/>
          <p:nvPr/>
        </p:nvSpPr>
        <p:spPr>
          <a:xfrm>
            <a:off x="4606615" y="3471576"/>
            <a:ext cx="695703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rie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E69B023-4856-41D1-8CF1-62C5FCB84C39}"/>
              </a:ext>
            </a:extLst>
          </p:cNvPr>
          <p:cNvSpPr txBox="1"/>
          <p:nvPr/>
        </p:nvSpPr>
        <p:spPr>
          <a:xfrm>
            <a:off x="3518180" y="4680744"/>
            <a:ext cx="484108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80K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5230257-C29F-45DF-966C-1D0F9F727125}"/>
              </a:ext>
            </a:extLst>
          </p:cNvPr>
          <p:cNvSpPr txBox="1"/>
          <p:nvPr/>
        </p:nvSpPr>
        <p:spPr>
          <a:xfrm>
            <a:off x="1532799" y="4680744"/>
            <a:ext cx="484108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80K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73CC726-EEF0-42DD-BA86-F5DFDE82D36F}"/>
              </a:ext>
            </a:extLst>
          </p:cNvPr>
          <p:cNvCxnSpPr>
            <a:stCxn id="12" idx="2"/>
            <a:endCxn id="13" idx="0"/>
          </p:cNvCxnSpPr>
          <p:nvPr/>
        </p:nvCxnSpPr>
        <p:spPr>
          <a:xfrm flipH="1">
            <a:off x="2502924" y="1707061"/>
            <a:ext cx="1" cy="525547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4BC38824-02F7-419A-94B0-05E086352430}"/>
              </a:ext>
            </a:extLst>
          </p:cNvPr>
          <p:cNvCxnSpPr>
            <a:stCxn id="13" idx="2"/>
            <a:endCxn id="14" idx="0"/>
          </p:cNvCxnSpPr>
          <p:nvPr/>
        </p:nvCxnSpPr>
        <p:spPr>
          <a:xfrm rot="5400000">
            <a:off x="1657621" y="2298923"/>
            <a:ext cx="423357" cy="1267250"/>
          </a:xfrm>
          <a:prstGeom prst="bentConnector3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34C8209E-534F-460D-A22A-F2E74CB398A1}"/>
              </a:ext>
            </a:extLst>
          </p:cNvPr>
          <p:cNvCxnSpPr>
            <a:cxnSpLocks/>
            <a:stCxn id="13" idx="2"/>
            <a:endCxn id="19" idx="0"/>
          </p:cNvCxnSpPr>
          <p:nvPr/>
        </p:nvCxnSpPr>
        <p:spPr>
          <a:xfrm rot="16200000" flipH="1">
            <a:off x="2941111" y="2282683"/>
            <a:ext cx="423357" cy="129973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696E6C44-3A3F-4E1B-B42B-81B71AF5969E}"/>
              </a:ext>
            </a:extLst>
          </p:cNvPr>
          <p:cNvCxnSpPr>
            <a:cxnSpLocks/>
            <a:stCxn id="29" idx="0"/>
            <a:endCxn id="20" idx="1"/>
          </p:cNvCxnSpPr>
          <p:nvPr/>
        </p:nvCxnSpPr>
        <p:spPr>
          <a:xfrm rot="5400000" flipH="1" flipV="1">
            <a:off x="2857212" y="3827764"/>
            <a:ext cx="763085" cy="844774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627AE56B-47F5-4A91-B9F1-6F584399A103}"/>
              </a:ext>
            </a:extLst>
          </p:cNvPr>
          <p:cNvSpPr txBox="1"/>
          <p:nvPr/>
        </p:nvSpPr>
        <p:spPr>
          <a:xfrm>
            <a:off x="2731760" y="4631693"/>
            <a:ext cx="169213" cy="301621"/>
          </a:xfrm>
          <a:prstGeom prst="rect">
            <a:avLst/>
          </a:prstGeom>
        </p:spPr>
        <p:txBody>
          <a:bodyPr vert="horz" wrap="none" lIns="27432" tIns="27432" rIns="27432" bIns="27432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941DE20-4639-49E9-B566-12A500B4C3E9}"/>
              </a:ext>
            </a:extLst>
          </p:cNvPr>
          <p:cNvCxnSpPr>
            <a:cxnSpLocks/>
          </p:cNvCxnSpPr>
          <p:nvPr/>
        </p:nvCxnSpPr>
        <p:spPr>
          <a:xfrm>
            <a:off x="3904847" y="3855195"/>
            <a:ext cx="188354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Body3 4">
            <a:extLst>
              <a:ext uri="{FF2B5EF4-FFF2-40B4-BE49-F238E27FC236}">
                <a16:creationId xmlns:a16="http://schemas.microsoft.com/office/drawing/2014/main" id="{89D6D32A-072F-419F-9FC0-AD995C1B7AD5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4098648" y="3750166"/>
            <a:ext cx="1195732" cy="488262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1C15AD61-04A2-402E-98BE-011E0DB9ED1C}"/>
              </a:ext>
            </a:extLst>
          </p:cNvPr>
          <p:cNvCxnSpPr>
            <a:cxnSpLocks/>
            <a:stCxn id="29" idx="1"/>
            <a:endCxn id="15" idx="0"/>
          </p:cNvCxnSpPr>
          <p:nvPr/>
        </p:nvCxnSpPr>
        <p:spPr>
          <a:xfrm rot="10800000" flipV="1">
            <a:off x="2129754" y="4782503"/>
            <a:ext cx="602006" cy="178441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D270F218-8EFF-4751-8672-FA1EA6668F0F}"/>
              </a:ext>
            </a:extLst>
          </p:cNvPr>
          <p:cNvCxnSpPr>
            <a:cxnSpLocks/>
            <a:stCxn id="29" idx="3"/>
            <a:endCxn id="16" idx="0"/>
          </p:cNvCxnSpPr>
          <p:nvPr/>
        </p:nvCxnSpPr>
        <p:spPr>
          <a:xfrm>
            <a:off x="2900973" y="4782504"/>
            <a:ext cx="576516" cy="178441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C2C3947E-01FD-4691-AA30-0EEA8B3FAFBD}"/>
              </a:ext>
            </a:extLst>
          </p:cNvPr>
          <p:cNvSpPr txBox="1"/>
          <p:nvPr/>
        </p:nvSpPr>
        <p:spPr>
          <a:xfrm>
            <a:off x="2543519" y="4189777"/>
            <a:ext cx="592791" cy="246221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xInc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6184F6A-054D-4B06-99F3-5DE7F2A15FCD}"/>
              </a:ext>
            </a:extLst>
          </p:cNvPr>
          <p:cNvSpPr>
            <a:spLocks/>
          </p:cNvSpPr>
          <p:nvPr/>
        </p:nvSpPr>
        <p:spPr>
          <a:xfrm>
            <a:off x="5873297" y="961851"/>
            <a:ext cx="5639345" cy="498498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Isosceles Triangle 36">
            <a:extLst>
              <a:ext uri="{FF2B5EF4-FFF2-40B4-BE49-F238E27FC236}">
                <a16:creationId xmlns:a16="http://schemas.microsoft.com/office/drawing/2014/main" id="{FC30DA60-B40A-4A9B-8F36-64D2A148CDC1}"/>
              </a:ext>
            </a:extLst>
          </p:cNvPr>
          <p:cNvSpPr/>
          <p:nvPr/>
        </p:nvSpPr>
        <p:spPr>
          <a:xfrm rot="16200000">
            <a:off x="3650750" y="286641"/>
            <a:ext cx="1060704" cy="3384394"/>
          </a:xfrm>
          <a:prstGeom prst="triangle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D555623E-8ED5-465B-A897-988621D5106A}"/>
              </a:ext>
            </a:extLst>
          </p:cNvPr>
          <p:cNvSpPr txBox="1"/>
          <p:nvPr/>
        </p:nvSpPr>
        <p:spPr>
          <a:xfrm>
            <a:off x="6686010" y="6024478"/>
            <a:ext cx="4013919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ch variable decreases the “entropy”?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59490526-9181-49F5-9B19-BF0A49DA677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079670" y="5137626"/>
            <a:ext cx="1718419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(-) = 12/13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 0.92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P(+) = 1/13  0.08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36ED9202-C9C9-4A1C-863F-1BEB772E3BD7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9155658" y="5137626"/>
            <a:ext cx="1769715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(-) = 4/17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 0.24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P(+) = 13/17  0.76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87F26CEB-D3E5-43D6-B465-D5B2B61048AA}"/>
              </a:ext>
            </a:extLst>
          </p:cNvPr>
          <p:cNvSpPr/>
          <p:nvPr/>
        </p:nvSpPr>
        <p:spPr>
          <a:xfrm>
            <a:off x="7744545" y="1191025"/>
            <a:ext cx="1634128" cy="1634128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A91AAAFB-0703-4396-9FEC-82A5071F0C22}"/>
              </a:ext>
            </a:extLst>
          </p:cNvPr>
          <p:cNvCxnSpPr/>
          <p:nvPr/>
        </p:nvCxnSpPr>
        <p:spPr>
          <a:xfrm>
            <a:off x="7869383" y="2229795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D1032DD-DD26-47FC-9EE2-D6004A863A53}"/>
              </a:ext>
            </a:extLst>
          </p:cNvPr>
          <p:cNvCxnSpPr/>
          <p:nvPr/>
        </p:nvCxnSpPr>
        <p:spPr>
          <a:xfrm>
            <a:off x="7946010" y="213035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ED95EB36-17AE-4CA3-B909-AC76D474D8FF}"/>
              </a:ext>
            </a:extLst>
          </p:cNvPr>
          <p:cNvCxnSpPr/>
          <p:nvPr/>
        </p:nvCxnSpPr>
        <p:spPr>
          <a:xfrm>
            <a:off x="8022636" y="2030910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CBA86E7-0CD6-472A-ABD4-26DC82EB2B5D}"/>
              </a:ext>
            </a:extLst>
          </p:cNvPr>
          <p:cNvCxnSpPr>
            <a:cxnSpLocks/>
          </p:cNvCxnSpPr>
          <p:nvPr/>
        </p:nvCxnSpPr>
        <p:spPr>
          <a:xfrm>
            <a:off x="8099264" y="1931468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8CA97ABA-6F17-4644-B945-EB02A941D25F}"/>
              </a:ext>
            </a:extLst>
          </p:cNvPr>
          <p:cNvCxnSpPr/>
          <p:nvPr/>
        </p:nvCxnSpPr>
        <p:spPr>
          <a:xfrm>
            <a:off x="8054506" y="2307039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A01BB52B-A169-42FA-AA9B-81D8BE735D11}"/>
              </a:ext>
            </a:extLst>
          </p:cNvPr>
          <p:cNvCxnSpPr/>
          <p:nvPr/>
        </p:nvCxnSpPr>
        <p:spPr>
          <a:xfrm>
            <a:off x="8131133" y="2207597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09E0F22-F44E-49AC-8F44-73D2B56D7804}"/>
              </a:ext>
            </a:extLst>
          </p:cNvPr>
          <p:cNvCxnSpPr/>
          <p:nvPr/>
        </p:nvCxnSpPr>
        <p:spPr>
          <a:xfrm>
            <a:off x="8207759" y="2108154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3BE16303-C216-4F63-A7FC-0F2A79EBB88E}"/>
              </a:ext>
            </a:extLst>
          </p:cNvPr>
          <p:cNvCxnSpPr>
            <a:cxnSpLocks/>
          </p:cNvCxnSpPr>
          <p:nvPr/>
        </p:nvCxnSpPr>
        <p:spPr>
          <a:xfrm>
            <a:off x="8284387" y="2008712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30CC16D-CC77-4578-8E98-DBD603646F06}"/>
              </a:ext>
            </a:extLst>
          </p:cNvPr>
          <p:cNvCxnSpPr/>
          <p:nvPr/>
        </p:nvCxnSpPr>
        <p:spPr>
          <a:xfrm>
            <a:off x="8220859" y="2375197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5365D782-855B-41CE-B1C6-3BAC61E07075}"/>
              </a:ext>
            </a:extLst>
          </p:cNvPr>
          <p:cNvCxnSpPr/>
          <p:nvPr/>
        </p:nvCxnSpPr>
        <p:spPr>
          <a:xfrm>
            <a:off x="8297486" y="2275755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D6228A4-F58E-4C9E-8D48-A5555D2B1D4A}"/>
              </a:ext>
            </a:extLst>
          </p:cNvPr>
          <p:cNvCxnSpPr/>
          <p:nvPr/>
        </p:nvCxnSpPr>
        <p:spPr>
          <a:xfrm>
            <a:off x="8374112" y="2176312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95F70747-83D1-4260-AD82-8F78944FFC34}"/>
              </a:ext>
            </a:extLst>
          </p:cNvPr>
          <p:cNvCxnSpPr>
            <a:cxnSpLocks/>
          </p:cNvCxnSpPr>
          <p:nvPr/>
        </p:nvCxnSpPr>
        <p:spPr>
          <a:xfrm>
            <a:off x="8450740" y="2076870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37FA7A4-CA33-4EBA-B094-748DADC02CAD}"/>
              </a:ext>
            </a:extLst>
          </p:cNvPr>
          <p:cNvCxnSpPr/>
          <p:nvPr/>
        </p:nvCxnSpPr>
        <p:spPr>
          <a:xfrm>
            <a:off x="8408798" y="2440645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A1D89B65-702C-4958-826B-4A7141603144}"/>
              </a:ext>
            </a:extLst>
          </p:cNvPr>
          <p:cNvCxnSpPr/>
          <p:nvPr/>
        </p:nvCxnSpPr>
        <p:spPr>
          <a:xfrm>
            <a:off x="8577313" y="2522488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73BE8BA7-1088-4D83-9651-98C1754B9572}"/>
              </a:ext>
            </a:extLst>
          </p:cNvPr>
          <p:cNvCxnSpPr/>
          <p:nvPr/>
        </p:nvCxnSpPr>
        <p:spPr>
          <a:xfrm>
            <a:off x="8768706" y="2609850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7D414BB-8F79-49C5-A88E-D10D636B1782}"/>
              </a:ext>
            </a:extLst>
          </p:cNvPr>
          <p:cNvCxnSpPr/>
          <p:nvPr/>
        </p:nvCxnSpPr>
        <p:spPr>
          <a:xfrm>
            <a:off x="8485425" y="2341202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1" name="Group 70">
            <a:extLst>
              <a:ext uri="{FF2B5EF4-FFF2-40B4-BE49-F238E27FC236}">
                <a16:creationId xmlns:a16="http://schemas.microsoft.com/office/drawing/2014/main" id="{F31C9B3E-E79A-4645-8FB3-3A41CFDCBD69}"/>
              </a:ext>
            </a:extLst>
          </p:cNvPr>
          <p:cNvGrpSpPr/>
          <p:nvPr/>
        </p:nvGrpSpPr>
        <p:grpSpPr>
          <a:xfrm>
            <a:off x="8438694" y="1343188"/>
            <a:ext cx="184694" cy="184694"/>
            <a:chOff x="8705669" y="1640302"/>
            <a:chExt cx="150391" cy="150391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C325D1F8-CA5A-41C5-957E-A1A5296C9CE5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9098B58-AA87-4845-99C4-F36F9BF7CE1E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D28566D6-033E-4F33-A041-3D709DA9DB09}"/>
              </a:ext>
            </a:extLst>
          </p:cNvPr>
          <p:cNvGrpSpPr/>
          <p:nvPr/>
        </p:nvGrpSpPr>
        <p:grpSpPr>
          <a:xfrm>
            <a:off x="8562174" y="1479517"/>
            <a:ext cx="184694" cy="184694"/>
            <a:chOff x="8705669" y="1640302"/>
            <a:chExt cx="150391" cy="150391"/>
          </a:xfrm>
        </p:grpSpPr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8D955692-ADB0-4624-A1BD-78D568494AF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CB954127-70DC-4590-9191-DB10C9D29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3D4B0027-CD61-4AE9-AF1C-7EC18B1D0D08}"/>
              </a:ext>
            </a:extLst>
          </p:cNvPr>
          <p:cNvGrpSpPr/>
          <p:nvPr/>
        </p:nvGrpSpPr>
        <p:grpSpPr>
          <a:xfrm>
            <a:off x="8685653" y="1615846"/>
            <a:ext cx="184694" cy="184694"/>
            <a:chOff x="8705669" y="1640302"/>
            <a:chExt cx="150391" cy="150391"/>
          </a:xfrm>
        </p:grpSpPr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13AA19A5-E7BC-41A9-89B0-072EFB384D46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D83919A7-78CB-4DE9-9AA1-2F61694E7F9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D64700B4-D10F-4D90-BE70-583A5039CB71}"/>
              </a:ext>
            </a:extLst>
          </p:cNvPr>
          <p:cNvGrpSpPr/>
          <p:nvPr/>
        </p:nvGrpSpPr>
        <p:grpSpPr>
          <a:xfrm>
            <a:off x="8809133" y="1752175"/>
            <a:ext cx="184694" cy="184694"/>
            <a:chOff x="8705669" y="1640302"/>
            <a:chExt cx="150391" cy="150391"/>
          </a:xfrm>
        </p:grpSpPr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9BA41E82-DD86-4CF7-9023-A324764B201A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0B26C11-551B-4507-B64C-AE2A1F17B871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A2415DF2-6CCC-4C00-9F94-4E2771B4C198}"/>
              </a:ext>
            </a:extLst>
          </p:cNvPr>
          <p:cNvGrpSpPr/>
          <p:nvPr/>
        </p:nvGrpSpPr>
        <p:grpSpPr>
          <a:xfrm>
            <a:off x="8932611" y="1888503"/>
            <a:ext cx="184694" cy="184694"/>
            <a:chOff x="8705669" y="1640302"/>
            <a:chExt cx="150391" cy="150391"/>
          </a:xfrm>
        </p:grpSpPr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468CFA15-FF18-485C-81F0-C408DBC288BD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F010E544-FF96-4DF1-A9AE-D66F45B51EF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007D774A-4142-4895-83FC-A405862AD75A}"/>
              </a:ext>
            </a:extLst>
          </p:cNvPr>
          <p:cNvGrpSpPr/>
          <p:nvPr/>
        </p:nvGrpSpPr>
        <p:grpSpPr>
          <a:xfrm>
            <a:off x="8679925" y="1312074"/>
            <a:ext cx="184694" cy="184694"/>
            <a:chOff x="8705669" y="1640302"/>
            <a:chExt cx="150391" cy="150391"/>
          </a:xfrm>
        </p:grpSpPr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787BB50D-1B3E-4C91-8176-F7B76617768C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2C3F581B-E2D8-41C4-BB9B-665CE38DFEA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997E1226-887A-43E1-8173-0A81A775FADF}"/>
              </a:ext>
            </a:extLst>
          </p:cNvPr>
          <p:cNvGrpSpPr/>
          <p:nvPr/>
        </p:nvGrpSpPr>
        <p:grpSpPr>
          <a:xfrm>
            <a:off x="8803405" y="1448403"/>
            <a:ext cx="184694" cy="184694"/>
            <a:chOff x="8705669" y="1640302"/>
            <a:chExt cx="150391" cy="150391"/>
          </a:xfrm>
        </p:grpSpPr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506EF6A2-5FCA-4CBE-A5F6-E85E51A047E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851B598C-64FB-4668-8299-4F5195B0762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AA1C5ABA-6688-4FD2-A0EA-A3CE72B8840B}"/>
              </a:ext>
            </a:extLst>
          </p:cNvPr>
          <p:cNvGrpSpPr/>
          <p:nvPr/>
        </p:nvGrpSpPr>
        <p:grpSpPr>
          <a:xfrm>
            <a:off x="8926884" y="1584732"/>
            <a:ext cx="184694" cy="184694"/>
            <a:chOff x="8705669" y="1640302"/>
            <a:chExt cx="150391" cy="150391"/>
          </a:xfrm>
        </p:grpSpPr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E9B14C0D-71B0-4645-9110-F38AFD0E5E99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8C2C68D5-69B5-4C49-B287-BD05261C53B0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B0E3B848-DD68-4DC8-89B3-22EC8F574A0E}"/>
              </a:ext>
            </a:extLst>
          </p:cNvPr>
          <p:cNvGrpSpPr/>
          <p:nvPr/>
        </p:nvGrpSpPr>
        <p:grpSpPr>
          <a:xfrm>
            <a:off x="8617660" y="1828258"/>
            <a:ext cx="184694" cy="184694"/>
            <a:chOff x="8705669" y="1640302"/>
            <a:chExt cx="150391" cy="150391"/>
          </a:xfrm>
        </p:grpSpPr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B6E875A4-51F8-4A1A-A6BC-C80AD95D335D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30247783-F227-4E02-A9E5-E56CB97A4F9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E6A1BAD-9907-43E4-A3CF-9F93EBCF4CA0}"/>
              </a:ext>
            </a:extLst>
          </p:cNvPr>
          <p:cNvGrpSpPr/>
          <p:nvPr/>
        </p:nvGrpSpPr>
        <p:grpSpPr>
          <a:xfrm>
            <a:off x="8741139" y="1964587"/>
            <a:ext cx="184694" cy="184694"/>
            <a:chOff x="8705669" y="1640302"/>
            <a:chExt cx="150391" cy="150391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D2882FB7-A6B7-4CC4-AA91-CB013DAC2981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09A5F694-2634-405D-9F7F-0379B6D7597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B361F68E-586E-4955-BE21-B58A3FBA65BF}"/>
              </a:ext>
            </a:extLst>
          </p:cNvPr>
          <p:cNvGrpSpPr/>
          <p:nvPr/>
        </p:nvGrpSpPr>
        <p:grpSpPr>
          <a:xfrm>
            <a:off x="8864619" y="2100916"/>
            <a:ext cx="184694" cy="184694"/>
            <a:chOff x="8705669" y="1640302"/>
            <a:chExt cx="150391" cy="150391"/>
          </a:xfrm>
        </p:grpSpPr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9FC072D7-06EC-40CB-878A-3DE4F6BE03D0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14CA81CE-989F-4CB4-9EC0-26F8722A2C6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F3B1AF94-182B-465A-808E-8974D799A06A}"/>
              </a:ext>
            </a:extLst>
          </p:cNvPr>
          <p:cNvGrpSpPr/>
          <p:nvPr/>
        </p:nvGrpSpPr>
        <p:grpSpPr>
          <a:xfrm>
            <a:off x="8988098" y="2237245"/>
            <a:ext cx="184694" cy="184694"/>
            <a:chOff x="8705669" y="1640302"/>
            <a:chExt cx="150391" cy="150391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D637741F-B3CF-4F47-82A1-9EC7E25F5286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E8051419-71F8-413C-9D04-7F371B30CAF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2A7E2E9A-9684-44C9-9A86-73CD3493B8B5}"/>
              </a:ext>
            </a:extLst>
          </p:cNvPr>
          <p:cNvGrpSpPr/>
          <p:nvPr/>
        </p:nvGrpSpPr>
        <p:grpSpPr>
          <a:xfrm>
            <a:off x="8725809" y="2202053"/>
            <a:ext cx="184694" cy="184694"/>
            <a:chOff x="8705669" y="1640302"/>
            <a:chExt cx="150391" cy="150391"/>
          </a:xfrm>
        </p:grpSpPr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6729EB3-BD17-4DEF-AFDF-A35366C5C4C5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3EBFD16B-B720-4CCE-B98F-59B32DFAFB2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3739214A-8F05-4ABA-8609-B7381C4FF21A}"/>
              </a:ext>
            </a:extLst>
          </p:cNvPr>
          <p:cNvGrpSpPr/>
          <p:nvPr/>
        </p:nvGrpSpPr>
        <p:grpSpPr>
          <a:xfrm>
            <a:off x="8849289" y="2338382"/>
            <a:ext cx="184694" cy="184694"/>
            <a:chOff x="8705669" y="1640302"/>
            <a:chExt cx="150391" cy="150391"/>
          </a:xfrm>
        </p:grpSpPr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1EA72CA2-280B-47B5-922D-BA8E080F0D8E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27CC5D03-6A31-42AB-BA62-21B6F9DFB5C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4" name="Straight Arrow Connector 143">
            <a:extLst>
              <a:ext uri="{FF2B5EF4-FFF2-40B4-BE49-F238E27FC236}">
                <a16:creationId xmlns:a16="http://schemas.microsoft.com/office/drawing/2014/main" id="{B51CC4F8-FDAE-4E2E-A570-5346BA0718C7}"/>
              </a:ext>
            </a:extLst>
          </p:cNvPr>
          <p:cNvCxnSpPr>
            <a:stCxn id="38" idx="3"/>
            <a:endCxn id="40" idx="0"/>
          </p:cNvCxnSpPr>
          <p:nvPr/>
        </p:nvCxnSpPr>
        <p:spPr>
          <a:xfrm flipH="1">
            <a:off x="7070037" y="2585840"/>
            <a:ext cx="913821" cy="867171"/>
          </a:xfrm>
          <a:prstGeom prst="straightConnector1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Arrow Connector 144">
            <a:extLst>
              <a:ext uri="{FF2B5EF4-FFF2-40B4-BE49-F238E27FC236}">
                <a16:creationId xmlns:a16="http://schemas.microsoft.com/office/drawing/2014/main" id="{B3CECD9A-8969-456A-B236-271536983433}"/>
              </a:ext>
            </a:extLst>
          </p:cNvPr>
          <p:cNvCxnSpPr>
            <a:cxnSpLocks/>
            <a:stCxn id="38" idx="5"/>
            <a:endCxn id="41" idx="0"/>
          </p:cNvCxnSpPr>
          <p:nvPr/>
        </p:nvCxnSpPr>
        <p:spPr>
          <a:xfrm>
            <a:off x="9139360" y="2585840"/>
            <a:ext cx="913822" cy="867171"/>
          </a:xfrm>
          <a:prstGeom prst="straightConnector1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val 39">
            <a:extLst>
              <a:ext uri="{FF2B5EF4-FFF2-40B4-BE49-F238E27FC236}">
                <a16:creationId xmlns:a16="http://schemas.microsoft.com/office/drawing/2014/main" id="{AB648319-DC11-42BC-B23B-C5FE2626EF5D}"/>
              </a:ext>
            </a:extLst>
          </p:cNvPr>
          <p:cNvSpPr/>
          <p:nvPr/>
        </p:nvSpPr>
        <p:spPr>
          <a:xfrm>
            <a:off x="6252973" y="3453011"/>
            <a:ext cx="1634128" cy="1634128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E85F6036-89B3-42A8-96F4-BF2474258B69}"/>
              </a:ext>
            </a:extLst>
          </p:cNvPr>
          <p:cNvCxnSpPr/>
          <p:nvPr/>
        </p:nvCxnSpPr>
        <p:spPr>
          <a:xfrm>
            <a:off x="6704469" y="4313569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D6AA2073-E18B-436C-A355-BB38FF3AE7FE}"/>
              </a:ext>
            </a:extLst>
          </p:cNvPr>
          <p:cNvCxnSpPr/>
          <p:nvPr/>
        </p:nvCxnSpPr>
        <p:spPr>
          <a:xfrm>
            <a:off x="6889592" y="439081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5BF8F150-E5C1-4A40-AC0D-032BC0286050}"/>
              </a:ext>
            </a:extLst>
          </p:cNvPr>
          <p:cNvCxnSpPr/>
          <p:nvPr/>
        </p:nvCxnSpPr>
        <p:spPr>
          <a:xfrm>
            <a:off x="7055945" y="4458971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E8B3413D-15C6-4F73-9FDE-39A499FD346D}"/>
              </a:ext>
            </a:extLst>
          </p:cNvPr>
          <p:cNvCxnSpPr/>
          <p:nvPr/>
        </p:nvCxnSpPr>
        <p:spPr>
          <a:xfrm>
            <a:off x="7243884" y="4524419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6D22D913-DD4D-4172-8970-23ADBDDD6F43}"/>
              </a:ext>
            </a:extLst>
          </p:cNvPr>
          <p:cNvCxnSpPr/>
          <p:nvPr/>
        </p:nvCxnSpPr>
        <p:spPr>
          <a:xfrm>
            <a:off x="6781141" y="4172956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497A919D-1E6C-43A7-A001-426268F00072}"/>
              </a:ext>
            </a:extLst>
          </p:cNvPr>
          <p:cNvCxnSpPr/>
          <p:nvPr/>
        </p:nvCxnSpPr>
        <p:spPr>
          <a:xfrm>
            <a:off x="6966264" y="4250200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1A747EF0-D13A-46D3-9613-9D7D7439F99D}"/>
              </a:ext>
            </a:extLst>
          </p:cNvPr>
          <p:cNvCxnSpPr/>
          <p:nvPr/>
        </p:nvCxnSpPr>
        <p:spPr>
          <a:xfrm>
            <a:off x="7132617" y="4318358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1C1740C9-CEBA-4C2D-B9CA-ABA315386959}"/>
              </a:ext>
            </a:extLst>
          </p:cNvPr>
          <p:cNvCxnSpPr/>
          <p:nvPr/>
        </p:nvCxnSpPr>
        <p:spPr>
          <a:xfrm>
            <a:off x="7320556" y="4383806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A286FF90-24DD-4DF8-84A6-26326D0BC955}"/>
              </a:ext>
            </a:extLst>
          </p:cNvPr>
          <p:cNvCxnSpPr/>
          <p:nvPr/>
        </p:nvCxnSpPr>
        <p:spPr>
          <a:xfrm>
            <a:off x="6857812" y="403234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8640D9FD-3322-4361-B742-EF3553947E8D}"/>
              </a:ext>
            </a:extLst>
          </p:cNvPr>
          <p:cNvCxnSpPr/>
          <p:nvPr/>
        </p:nvCxnSpPr>
        <p:spPr>
          <a:xfrm>
            <a:off x="7042935" y="4109587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E62F89A4-F6E0-4C95-ACFB-2F46133673DF}"/>
              </a:ext>
            </a:extLst>
          </p:cNvPr>
          <p:cNvCxnSpPr/>
          <p:nvPr/>
        </p:nvCxnSpPr>
        <p:spPr>
          <a:xfrm>
            <a:off x="7209288" y="4177745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2FB14DBC-11A6-430D-BAE6-BB507128A709}"/>
              </a:ext>
            </a:extLst>
          </p:cNvPr>
          <p:cNvCxnSpPr/>
          <p:nvPr/>
        </p:nvCxnSpPr>
        <p:spPr>
          <a:xfrm>
            <a:off x="7397227" y="424319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DD2C859B-182A-49A8-A857-AE4EFB5C994D}"/>
              </a:ext>
            </a:extLst>
          </p:cNvPr>
          <p:cNvGrpSpPr/>
          <p:nvPr/>
        </p:nvGrpSpPr>
        <p:grpSpPr>
          <a:xfrm>
            <a:off x="6559071" y="4015731"/>
            <a:ext cx="184694" cy="184694"/>
            <a:chOff x="8705669" y="1640302"/>
            <a:chExt cx="150391" cy="150391"/>
          </a:xfrm>
        </p:grpSpPr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A4D1D3E-A9E4-4A08-88F2-6B48CC79A464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CD1D926B-7C4C-4FEB-B824-01BE5454DFC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Oval 40">
            <a:extLst>
              <a:ext uri="{FF2B5EF4-FFF2-40B4-BE49-F238E27FC236}">
                <a16:creationId xmlns:a16="http://schemas.microsoft.com/office/drawing/2014/main" id="{F923F80E-855D-4744-9AC7-46FCF0841D04}"/>
              </a:ext>
            </a:extLst>
          </p:cNvPr>
          <p:cNvSpPr/>
          <p:nvPr/>
        </p:nvSpPr>
        <p:spPr>
          <a:xfrm>
            <a:off x="9236118" y="3453011"/>
            <a:ext cx="1634128" cy="1634128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686D202B-8BCF-40F9-AD86-D4F75637D867}"/>
              </a:ext>
            </a:extLst>
          </p:cNvPr>
          <p:cNvGrpSpPr/>
          <p:nvPr/>
        </p:nvGrpSpPr>
        <p:grpSpPr>
          <a:xfrm>
            <a:off x="9419406" y="3821205"/>
            <a:ext cx="184694" cy="184694"/>
            <a:chOff x="8705669" y="1640302"/>
            <a:chExt cx="150391" cy="150391"/>
          </a:xfrm>
        </p:grpSpPr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525D86C9-A945-4BCA-A070-F7DD0B703EFE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6C8C0C91-A545-41DB-A232-830497513CE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2E279706-EF60-40AE-A9B0-704E8A1C322E}"/>
              </a:ext>
            </a:extLst>
          </p:cNvPr>
          <p:cNvGrpSpPr/>
          <p:nvPr/>
        </p:nvGrpSpPr>
        <p:grpSpPr>
          <a:xfrm>
            <a:off x="9419406" y="4494774"/>
            <a:ext cx="184694" cy="184694"/>
            <a:chOff x="8705669" y="1640302"/>
            <a:chExt cx="150391" cy="150391"/>
          </a:xfrm>
        </p:grpSpPr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F70FF2CC-BBCE-4AB2-84C8-875BDDEDF9EF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>
              <a:extLst>
                <a:ext uri="{FF2B5EF4-FFF2-40B4-BE49-F238E27FC236}">
                  <a16:creationId xmlns:a16="http://schemas.microsoft.com/office/drawing/2014/main" id="{0A32431E-A156-43D1-ADD2-172A47E3A7A2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1C3167C8-BC27-4303-909C-6B6A4FE8930B}"/>
              </a:ext>
            </a:extLst>
          </p:cNvPr>
          <p:cNvGrpSpPr/>
          <p:nvPr/>
        </p:nvGrpSpPr>
        <p:grpSpPr>
          <a:xfrm>
            <a:off x="9640274" y="4352325"/>
            <a:ext cx="184694" cy="184694"/>
            <a:chOff x="8705669" y="1640302"/>
            <a:chExt cx="150391" cy="150391"/>
          </a:xfrm>
        </p:grpSpPr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757A88F9-EB05-419B-B8B1-5A7E6DB0F38A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EDF035B5-E0D3-4D14-AFE4-66DA9BF40F7E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53E29ADD-99F4-47B5-94B6-9E6976404F0C}"/>
              </a:ext>
            </a:extLst>
          </p:cNvPr>
          <p:cNvGrpSpPr/>
          <p:nvPr/>
        </p:nvGrpSpPr>
        <p:grpSpPr>
          <a:xfrm>
            <a:off x="9861142" y="4209876"/>
            <a:ext cx="184694" cy="184694"/>
            <a:chOff x="8705669" y="1640302"/>
            <a:chExt cx="150391" cy="150391"/>
          </a:xfrm>
        </p:grpSpPr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BEBD16AC-B8BE-4DA9-B38E-A5002395A96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322B1B0D-F7A5-4EBB-942A-D8FE1752B65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3832FEDE-0D0B-4913-AD87-9258F158E71C}"/>
              </a:ext>
            </a:extLst>
          </p:cNvPr>
          <p:cNvGrpSpPr/>
          <p:nvPr/>
        </p:nvGrpSpPr>
        <p:grpSpPr>
          <a:xfrm>
            <a:off x="9809703" y="4532469"/>
            <a:ext cx="184694" cy="184694"/>
            <a:chOff x="8705669" y="1640302"/>
            <a:chExt cx="150391" cy="150391"/>
          </a:xfrm>
        </p:grpSpPr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E578E2ED-FAF9-41A3-9580-8D4DFA402636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310113EC-FC45-4A94-B601-1AE9C91D540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C70D34E1-F457-4309-88DE-DC0F9DFAB7D7}"/>
              </a:ext>
            </a:extLst>
          </p:cNvPr>
          <p:cNvGrpSpPr/>
          <p:nvPr/>
        </p:nvGrpSpPr>
        <p:grpSpPr>
          <a:xfrm>
            <a:off x="9809703" y="4783888"/>
            <a:ext cx="184694" cy="184694"/>
            <a:chOff x="8705669" y="1640302"/>
            <a:chExt cx="150391" cy="150391"/>
          </a:xfrm>
        </p:grpSpPr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DBE76AE0-6F3A-4283-BA0F-14986D8A2A65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09E2741A-158C-4152-880F-83BFF93BDAE5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67D61E1E-7BA4-484D-B34F-6FBCB4B6197F}"/>
              </a:ext>
            </a:extLst>
          </p:cNvPr>
          <p:cNvGrpSpPr/>
          <p:nvPr/>
        </p:nvGrpSpPr>
        <p:grpSpPr>
          <a:xfrm>
            <a:off x="9877753" y="3975079"/>
            <a:ext cx="184694" cy="184694"/>
            <a:chOff x="8705669" y="1640302"/>
            <a:chExt cx="150391" cy="150391"/>
          </a:xfrm>
        </p:grpSpPr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FAC21669-EDB1-4A3B-B6DE-69FDEFAC78A7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1DDEA5C8-3FE3-4780-A506-D4B9E4093F8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F3C342C3-BFB1-474A-8B24-150BB9FEF025}"/>
              </a:ext>
            </a:extLst>
          </p:cNvPr>
          <p:cNvGrpSpPr/>
          <p:nvPr/>
        </p:nvGrpSpPr>
        <p:grpSpPr>
          <a:xfrm>
            <a:off x="9976733" y="3757230"/>
            <a:ext cx="184694" cy="184694"/>
            <a:chOff x="8705669" y="1640302"/>
            <a:chExt cx="150391" cy="150391"/>
          </a:xfrm>
        </p:grpSpPr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C5474C98-5BA4-47B9-87CC-F827536C7EB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CE5BFCC8-8A51-47B4-B82C-651CE5E94DFE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2E127013-F1C6-4700-9C60-7DE5F1361272}"/>
              </a:ext>
            </a:extLst>
          </p:cNvPr>
          <p:cNvCxnSpPr/>
          <p:nvPr/>
        </p:nvCxnSpPr>
        <p:spPr>
          <a:xfrm>
            <a:off x="9599131" y="4662587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2FCB3F68-74CC-4701-A267-1314EB07C805}"/>
              </a:ext>
            </a:extLst>
          </p:cNvPr>
          <p:cNvCxnSpPr/>
          <p:nvPr/>
        </p:nvCxnSpPr>
        <p:spPr>
          <a:xfrm>
            <a:off x="9599131" y="4788751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CCF06308-A107-4368-A3F7-629F6E2BC3EE}"/>
              </a:ext>
            </a:extLst>
          </p:cNvPr>
          <p:cNvCxnSpPr/>
          <p:nvPr/>
        </p:nvCxnSpPr>
        <p:spPr>
          <a:xfrm>
            <a:off x="10517615" y="4575508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5E05F642-683B-4148-80AF-C5D56BB2FD93}"/>
              </a:ext>
            </a:extLst>
          </p:cNvPr>
          <p:cNvGrpSpPr/>
          <p:nvPr/>
        </p:nvGrpSpPr>
        <p:grpSpPr>
          <a:xfrm>
            <a:off x="10071312" y="4390813"/>
            <a:ext cx="184694" cy="184694"/>
            <a:chOff x="8705669" y="1640302"/>
            <a:chExt cx="150391" cy="150391"/>
          </a:xfrm>
        </p:grpSpPr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C69C9CA7-63A0-43B0-9B38-98532FA1DA56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547A5C0B-9DB2-4BE4-A818-75E64845BAF1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C1F917A7-8155-4AF8-A659-7FE0365B9F09}"/>
              </a:ext>
            </a:extLst>
          </p:cNvPr>
          <p:cNvGrpSpPr/>
          <p:nvPr/>
        </p:nvGrpSpPr>
        <p:grpSpPr>
          <a:xfrm>
            <a:off x="10011533" y="4642232"/>
            <a:ext cx="184694" cy="184694"/>
            <a:chOff x="8705669" y="1640302"/>
            <a:chExt cx="150391" cy="150391"/>
          </a:xfrm>
        </p:grpSpPr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A30013FE-B3B8-4636-A0D5-CDD1D9F33745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705B9AC2-F18B-4140-AB12-303FB74F6CD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96C2BC00-0F0F-41A5-8D46-84B83B5F758E}"/>
              </a:ext>
            </a:extLst>
          </p:cNvPr>
          <p:cNvGrpSpPr/>
          <p:nvPr/>
        </p:nvGrpSpPr>
        <p:grpSpPr>
          <a:xfrm>
            <a:off x="10332921" y="4230519"/>
            <a:ext cx="184694" cy="184694"/>
            <a:chOff x="8705669" y="1640302"/>
            <a:chExt cx="150391" cy="150391"/>
          </a:xfrm>
        </p:grpSpPr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1F9E68A6-8E93-457E-8A06-71E1C2AE8E40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5901A482-D365-488E-B544-50D9B9B814D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0B0BE98A-CEE6-4B14-AC63-458F93F8EBF1}"/>
              </a:ext>
            </a:extLst>
          </p:cNvPr>
          <p:cNvGrpSpPr/>
          <p:nvPr/>
        </p:nvGrpSpPr>
        <p:grpSpPr>
          <a:xfrm>
            <a:off x="10594531" y="4230519"/>
            <a:ext cx="184694" cy="184694"/>
            <a:chOff x="8705669" y="1640302"/>
            <a:chExt cx="150391" cy="150391"/>
          </a:xfrm>
        </p:grpSpPr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03860C00-C466-4152-9D81-379953493D5B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1FC84799-E6EC-417A-B5C6-6970B3EEE1A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id="{26E8FE24-918F-42D2-9491-B936E68D084C}"/>
              </a:ext>
            </a:extLst>
          </p:cNvPr>
          <p:cNvCxnSpPr/>
          <p:nvPr/>
        </p:nvCxnSpPr>
        <p:spPr>
          <a:xfrm>
            <a:off x="10196227" y="398309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DAD1D47E-A514-41A6-AC03-84FDC12E17C4}"/>
              </a:ext>
            </a:extLst>
          </p:cNvPr>
          <p:cNvGrpSpPr/>
          <p:nvPr/>
        </p:nvGrpSpPr>
        <p:grpSpPr>
          <a:xfrm>
            <a:off x="10082010" y="4067427"/>
            <a:ext cx="184694" cy="184694"/>
            <a:chOff x="8705669" y="1640302"/>
            <a:chExt cx="150391" cy="150391"/>
          </a:xfrm>
        </p:grpSpPr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1772DFBB-DCA1-444D-82B7-F06D6F47DAA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1A0D6657-78A6-4990-BB0C-BA30CFAEEBF0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6" name="Group 195">
            <a:extLst>
              <a:ext uri="{FF2B5EF4-FFF2-40B4-BE49-F238E27FC236}">
                <a16:creationId xmlns:a16="http://schemas.microsoft.com/office/drawing/2014/main" id="{0B618A3D-ABB4-4D5C-A27F-948139C62AD8}"/>
              </a:ext>
            </a:extLst>
          </p:cNvPr>
          <p:cNvGrpSpPr/>
          <p:nvPr/>
        </p:nvGrpSpPr>
        <p:grpSpPr>
          <a:xfrm>
            <a:off x="7932127" y="4453632"/>
            <a:ext cx="184694" cy="184694"/>
            <a:chOff x="8705669" y="1640302"/>
            <a:chExt cx="150391" cy="150391"/>
          </a:xfrm>
        </p:grpSpPr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4214D799-8077-4E7B-BF35-6AD5CB8DB922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5DF65C93-7931-4762-9EB6-4E2FAAE41AB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977B1F32-66AE-475F-A0E2-28F2CEE1379D}"/>
              </a:ext>
            </a:extLst>
          </p:cNvPr>
          <p:cNvCxnSpPr/>
          <p:nvPr/>
        </p:nvCxnSpPr>
        <p:spPr>
          <a:xfrm>
            <a:off x="7896109" y="482745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TextBox 199">
            <a:extLst>
              <a:ext uri="{FF2B5EF4-FFF2-40B4-BE49-F238E27FC236}">
                <a16:creationId xmlns:a16="http://schemas.microsoft.com/office/drawing/2014/main" id="{5F3B30F7-1A4A-4B24-A28F-9864D1F90A9D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184869" y="4409359"/>
            <a:ext cx="171522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1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7997C903-7410-4452-A76D-A51CC7E40E8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184869" y="4702916"/>
            <a:ext cx="28533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12</a:t>
            </a:r>
          </a:p>
        </p:txBody>
      </p: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D50F5658-61EA-4FFD-8756-2F4269E097F9}"/>
              </a:ext>
            </a:extLst>
          </p:cNvPr>
          <p:cNvGrpSpPr/>
          <p:nvPr/>
        </p:nvGrpSpPr>
        <p:grpSpPr>
          <a:xfrm>
            <a:off x="10860042" y="4453632"/>
            <a:ext cx="184694" cy="184694"/>
            <a:chOff x="8705669" y="1640302"/>
            <a:chExt cx="150391" cy="150391"/>
          </a:xfrm>
        </p:grpSpPr>
        <p:cxnSp>
          <p:nvCxnSpPr>
            <p:cNvPr id="203" name="Straight Connector 202">
              <a:extLst>
                <a:ext uri="{FF2B5EF4-FFF2-40B4-BE49-F238E27FC236}">
                  <a16:creationId xmlns:a16="http://schemas.microsoft.com/office/drawing/2014/main" id="{2D552833-7D2D-40F0-A6FB-7763697CB604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Connector 203">
              <a:extLst>
                <a:ext uri="{FF2B5EF4-FFF2-40B4-BE49-F238E27FC236}">
                  <a16:creationId xmlns:a16="http://schemas.microsoft.com/office/drawing/2014/main" id="{744F9487-A6A2-411E-8F2B-D3E6D5144E9B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8BA37566-7719-493C-9ADB-3CF59D598ED4}"/>
              </a:ext>
            </a:extLst>
          </p:cNvPr>
          <p:cNvCxnSpPr/>
          <p:nvPr/>
        </p:nvCxnSpPr>
        <p:spPr>
          <a:xfrm>
            <a:off x="10824024" y="4827453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TextBox 205">
            <a:extLst>
              <a:ext uri="{FF2B5EF4-FFF2-40B4-BE49-F238E27FC236}">
                <a16:creationId xmlns:a16="http://schemas.microsoft.com/office/drawing/2014/main" id="{91A8F790-CE1F-4C38-81B7-02DB4EB8787A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11112784" y="4409359"/>
            <a:ext cx="28533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13</a:t>
            </a: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C255A488-69AD-4BF5-8B47-D2D926611815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1112784" y="4702916"/>
            <a:ext cx="171522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4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900CA377-FC0B-4A79-8CBA-129930C9BB59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5934931" y="1670924"/>
            <a:ext cx="1769715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(-) = 16/30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 0.53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P(+) = 14/30  0.47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14" name="Group 213">
            <a:extLst>
              <a:ext uri="{FF2B5EF4-FFF2-40B4-BE49-F238E27FC236}">
                <a16:creationId xmlns:a16="http://schemas.microsoft.com/office/drawing/2014/main" id="{BD29C86B-C85B-407C-8C3F-82EB5329B5CC}"/>
              </a:ext>
            </a:extLst>
          </p:cNvPr>
          <p:cNvGrpSpPr/>
          <p:nvPr/>
        </p:nvGrpSpPr>
        <p:grpSpPr>
          <a:xfrm>
            <a:off x="9464536" y="2097475"/>
            <a:ext cx="184694" cy="184694"/>
            <a:chOff x="8705669" y="1640302"/>
            <a:chExt cx="150391" cy="150391"/>
          </a:xfrm>
        </p:grpSpPr>
        <p:cxnSp>
          <p:nvCxnSpPr>
            <p:cNvPr id="218" name="Straight Connector 217">
              <a:extLst>
                <a:ext uri="{FF2B5EF4-FFF2-40B4-BE49-F238E27FC236}">
                  <a16:creationId xmlns:a16="http://schemas.microsoft.com/office/drawing/2014/main" id="{A46810ED-A27D-4C52-B5E8-D03669B0EA83}"/>
                </a:ext>
              </a:extLst>
            </p:cNvPr>
            <p:cNvCxnSpPr/>
            <p:nvPr/>
          </p:nvCxnSpPr>
          <p:spPr>
            <a:xfrm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Connector 218">
              <a:extLst>
                <a:ext uri="{FF2B5EF4-FFF2-40B4-BE49-F238E27FC236}">
                  <a16:creationId xmlns:a16="http://schemas.microsoft.com/office/drawing/2014/main" id="{F164F31E-B6B9-4623-A020-39EBD6A5A6A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05669" y="1715498"/>
              <a:ext cx="150391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B1F6096E-F935-4193-847B-A85DC261AA7A}"/>
              </a:ext>
            </a:extLst>
          </p:cNvPr>
          <p:cNvCxnSpPr/>
          <p:nvPr/>
        </p:nvCxnSpPr>
        <p:spPr>
          <a:xfrm>
            <a:off x="9428518" y="2471296"/>
            <a:ext cx="18377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" name="TextBox 215">
            <a:extLst>
              <a:ext uri="{FF2B5EF4-FFF2-40B4-BE49-F238E27FC236}">
                <a16:creationId xmlns:a16="http://schemas.microsoft.com/office/drawing/2014/main" id="{05D654AD-A5D4-4E9D-AFDF-273F75DD27E2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9717278" y="2053202"/>
            <a:ext cx="28533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14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D0ECEAA2-ECDC-41D8-BC32-0707673B9F57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9717278" y="2346759"/>
            <a:ext cx="285335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16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DA1DC3CF-2957-403C-8D3D-56D13F3D91D4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6677883" y="3157216"/>
            <a:ext cx="333809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s</a:t>
            </a: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08D2AE28-763D-4F43-8204-3D4EAE9DDB2B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10081351" y="3157216"/>
            <a:ext cx="261290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</a:t>
            </a:r>
          </a:p>
        </p:txBody>
      </p:sp>
      <p:sp>
        <p:nvSpPr>
          <p:cNvPr id="35" name="TrackerAlpha 1">
            <a:extLst>
              <a:ext uri="{FF2B5EF4-FFF2-40B4-BE49-F238E27FC236}">
                <a16:creationId xmlns:a16="http://schemas.microsoft.com/office/drawing/2014/main" id="{456B5CBA-C726-4DC7-A835-A936AFBE4117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2360685" y="1827595"/>
            <a:ext cx="284480" cy="284480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192" name="Rounded Rectangle 191">
            <a:extLst>
              <a:ext uri="{FF2B5EF4-FFF2-40B4-BE49-F238E27FC236}">
                <a16:creationId xmlns:a16="http://schemas.microsoft.com/office/drawing/2014/main" id="{121F1F2F-9956-9442-A600-DB14D32D997B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249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5457" y="84156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715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15457" y="84156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latin typeface="Georgia" panose="02040502050405020303" pitchFamily="18" charset="0"/>
              </a:rPr>
              <a:t>Basic principles of decision trees</a:t>
            </a:r>
            <a:endParaRPr lang="en-GB" dirty="0">
              <a:latin typeface="Georgia" panose="02040502050405020303" pitchFamily="18" charset="0"/>
            </a:endParaRPr>
          </a:p>
        </p:txBody>
      </p:sp>
      <p:sp>
        <p:nvSpPr>
          <p:cNvPr id="41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sp>
        <p:nvSpPr>
          <p:cNvPr id="77" name="TextBox 76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75488" y="969577"/>
            <a:ext cx="10903712" cy="335604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The first statement is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fork 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– 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t splits the data into two branches based on some value of a </a:t>
            </a:r>
            <a:b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particular variable</a:t>
            </a: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The value between the branches is called a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t point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. Observations to the left of point get </a:t>
            </a:r>
            <a:r>
              <a:rPr kumimoji="0" lang="en-US" sz="1764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ategorised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one way, while those to the right in another way</a:t>
            </a: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t the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st split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, the results of each branch should be as 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re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as possible (cf. 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de impurity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measures)</a:t>
            </a: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lgorithm repeats the process above on subsets of the observations – called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ursion</a:t>
            </a:r>
            <a:endParaRPr kumimoji="0" lang="en-US" sz="1764" b="0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dditional forks add new information (predictors) that can increase a tree's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on accuracy</a:t>
            </a:r>
            <a:endParaRPr kumimoji="0" lang="en-US" sz="1764" b="0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Final tree branch ends are </a:t>
            </a:r>
            <a:r>
              <a:rPr kumimoji="0" lang="en-US" sz="1764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af nodes or terminal nodes</a:t>
            </a:r>
            <a:r>
              <a:rPr kumimoji="0" lang="en-US" sz="176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. Our decision tree models classify observations based on which dependent variable is majority (for classification problems) or the mean/mode (for regression problems)</a:t>
            </a:r>
            <a:endParaRPr kumimoji="0" lang="en-GB" sz="1764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C51DC796-F068-BE46-831B-D884C0CDB2D1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352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15457" y="84156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739" name="think-cell Slide" r:id="rId7" imgW="338" imgH="338" progId="TCLayout.ActiveDocument.1">
                  <p:embed/>
                </p:oleObj>
              </mc:Choice>
              <mc:Fallback>
                <p:oleObj name="think-cell Slide" r:id="rId7" imgW="338" imgH="33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615457" y="84156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555E2C7-9FBB-44CD-81C7-03AE22D8D0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There are different techniques to decide on the “best split”</a:t>
            </a:r>
            <a:endParaRPr lang="en-GB" dirty="0"/>
          </a:p>
        </p:txBody>
      </p:sp>
      <p:sp>
        <p:nvSpPr>
          <p:cNvPr id="16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cxnSp>
        <p:nvCxnSpPr>
          <p:cNvPr id="15" name="Straight Connector 14"/>
          <p:cNvCxnSpPr>
            <a:cxnSpLocks/>
          </p:cNvCxnSpPr>
          <p:nvPr/>
        </p:nvCxnSpPr>
        <p:spPr>
          <a:xfrm>
            <a:off x="475488" y="2655118"/>
            <a:ext cx="8376380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>
            <a:spLocks/>
          </p:cNvSpPr>
          <p:nvPr/>
        </p:nvSpPr>
        <p:spPr>
          <a:xfrm>
            <a:off x="475488" y="1408023"/>
            <a:ext cx="1377587" cy="11233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ression problems</a:t>
            </a:r>
            <a:endParaRPr kumimoji="0" lang="en-GB" sz="1600" b="1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1917813" y="1408023"/>
            <a:ext cx="0" cy="1123384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51138CFF-9E3B-4019-9767-60456BFFBD5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047285" y="1408023"/>
            <a:ext cx="9472999" cy="11233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idual sum of squares (RSS)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 sum of squared error differences between the predicted values and actual values – to split at each node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 complexity prunin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Weakest link pruning based on tuning parameter α that controls trade-off between sub-tree’s complexity and fit to training data</a:t>
            </a:r>
          </a:p>
        </p:txBody>
      </p:sp>
      <p:sp>
        <p:nvSpPr>
          <p:cNvPr id="5" name="Rectangle 4"/>
          <p:cNvSpPr>
            <a:spLocks/>
          </p:cNvSpPr>
          <p:nvPr/>
        </p:nvSpPr>
        <p:spPr>
          <a:xfrm>
            <a:off x="475488" y="2778832"/>
            <a:ext cx="1377587" cy="29510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assification problems</a:t>
            </a:r>
            <a:endParaRPr kumimoji="0" lang="en-GB" sz="1600" b="1" i="0" u="none" strike="noStrike" kern="120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1" name="Straight Connector 20"/>
          <p:cNvCxnSpPr>
            <a:cxnSpLocks/>
          </p:cNvCxnSpPr>
          <p:nvPr/>
        </p:nvCxnSpPr>
        <p:spPr>
          <a:xfrm>
            <a:off x="1917813" y="2778832"/>
            <a:ext cx="0" cy="295100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BEC524D1-E88F-4EFC-B312-29D44D099CDF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047285" y="2778830"/>
            <a:ext cx="9472999" cy="295100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litting techniques</a:t>
            </a:r>
          </a:p>
          <a:p>
            <a:pPr marL="350838" marR="0" lvl="3" indent="-182563" algn="l" defTabSz="1193860" rtl="0" eaLnBrk="1" fontAlgn="base" latinLnBrk="0" hangingPunct="1">
              <a:lnSpc>
                <a:spcPct val="100000"/>
              </a:lnSpc>
              <a:spcBef>
                <a:spcPct val="12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assification error rat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– Fraction of training observations in a region that don’t belong to the most common clas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350838" marR="0" lvl="3" indent="-182563" algn="l" defTabSz="1193860" rtl="0" eaLnBrk="1" fontAlgn="base" latinLnBrk="0" hangingPunct="1">
              <a:lnSpc>
                <a:spcPct val="100000"/>
              </a:lnSpc>
              <a:spcBef>
                <a:spcPct val="12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Gini index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 Measure of total variance among the K-classes</a:t>
            </a:r>
          </a:p>
          <a:p>
            <a:pPr marL="350838" marR="0" lvl="3" indent="-182563" algn="l" defTabSz="1193860" rtl="0" eaLnBrk="1" fontAlgn="base" latinLnBrk="0" hangingPunct="1">
              <a:lnSpc>
                <a:spcPct val="100000"/>
              </a:lnSpc>
              <a:spcBef>
                <a:spcPct val="12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ross entropy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– Similar to Gini index numerically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euristic: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Prefer attribute that produces the “purest” sub-node (least impurity) and leads to the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mallest tree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Gini index/cross entropy preferred for splitting as more sensitive to node purity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lassification error rate preferred for pruning if prediction accuracy is final goal of pruned tree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38B86317-CFAF-3647-98E3-B69B54D4CE39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39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95461" y="841928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763" name="think-cell Slide" r:id="rId8" imgW="374" imgH="374" progId="TCLayout.ActiveDocument.1">
                  <p:embed/>
                </p:oleObj>
              </mc:Choice>
              <mc:Fallback>
                <p:oleObj name="think-cell Slide" r:id="rId8" imgW="374" imgH="37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95461" y="841928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latin typeface="Georgia" panose="02040502050405020303" pitchFamily="18" charset="0"/>
              </a:rPr>
              <a:t>Decision trees typically outperform in non-linear situations and are highly interpretable </a:t>
            </a:r>
            <a:endParaRPr lang="en-GB" dirty="0">
              <a:latin typeface="Georgia" panose="02040502050405020303" pitchFamily="18" charset="0"/>
            </a:endParaRPr>
          </a:p>
        </p:txBody>
      </p:sp>
      <p:sp>
        <p:nvSpPr>
          <p:cNvPr id="11" name="5. Source"/>
          <p:cNvSpPr>
            <a:spLocks noChangeArrowheads="1"/>
          </p:cNvSpPr>
          <p:nvPr/>
        </p:nvSpPr>
        <p:spPr bwMode="gray">
          <a:xfrm>
            <a:off x="475488" y="6507558"/>
            <a:ext cx="966197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marR="0" lvl="0" indent="-493713" algn="l" defTabSz="8953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02" algn="l"/>
              </a:tabLst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OURCE: McKinsey Analytics Practice</a:t>
            </a:r>
          </a:p>
        </p:txBody>
      </p:sp>
      <p:cxnSp>
        <p:nvCxnSpPr>
          <p:cNvPr id="30" name="Straight Connector 29"/>
          <p:cNvCxnSpPr>
            <a:cxnSpLocks/>
          </p:cNvCxnSpPr>
          <p:nvPr/>
        </p:nvCxnSpPr>
        <p:spPr>
          <a:xfrm>
            <a:off x="5402046" y="1615448"/>
            <a:ext cx="0" cy="4363343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796727" y="1559176"/>
            <a:ext cx="485642" cy="555504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1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014631" y="1629768"/>
            <a:ext cx="448614" cy="448614"/>
          </a:xfrm>
          <a:prstGeom prst="rect">
            <a:avLst/>
          </a:prstGeom>
          <a:noFill/>
        </p:spPr>
      </p:pic>
      <p:sp>
        <p:nvSpPr>
          <p:cNvPr id="26" name="Rectangle 5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659220" y="1687083"/>
            <a:ext cx="5804025" cy="322659"/>
          </a:xfrm>
          <a:prstGeom prst="round2Same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hallenges</a:t>
            </a:r>
          </a:p>
        </p:txBody>
      </p:sp>
      <p:sp>
        <p:nvSpPr>
          <p:cNvPr id="16" name="Rectangle 5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32532" y="1687083"/>
            <a:ext cx="4630160" cy="322659"/>
          </a:xfrm>
          <a:prstGeom prst="round2Same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trength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92D9424-562E-490C-BD33-910D81CAB481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32532" y="2163756"/>
            <a:ext cx="4630160" cy="3758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n outperform classical approaches,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 there are highly non-linear/complex relationships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rally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ly interpretabl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easy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explain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vide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sualisation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aphical representation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tentially more closely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rror human decision-making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n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ndle quantitative predictor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out need for dummy variab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F07B155-1F11-4D5B-A874-618BA089DFE4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659220" y="2163755"/>
            <a:ext cx="5804025" cy="333557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n-robus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 small data change can cause large change in final tree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-down, greedy approach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 recursive binary splitting (makes best split at each step without looking ahead) – can prevent ‘edge solutions’ from being picked up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fitting is a common problem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needs to be watched out for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76206467-AFF6-4742-9483-EA7CB94DCD01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110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EB1C69C-B1CE-4A09-A1AB-C1B1A726B5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78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EB1C69C-B1CE-4A09-A1AB-C1B1A726B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4C72B78-D5EC-470D-BF4F-7982676701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4CBC20AA-1792-4140-9132-CE0036B5D02A}"/>
              </a:ext>
            </a:extLst>
          </p:cNvPr>
          <p:cNvSpPr>
            <a:spLocks/>
          </p:cNvSpPr>
          <p:nvPr/>
        </p:nvSpPr>
        <p:spPr>
          <a:xfrm>
            <a:off x="2117473" y="1105533"/>
            <a:ext cx="7760830" cy="51657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2F6A80-5316-594E-9A92-0CB9E34B9607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Improve model performance by combining multiple models into ensemble</a:t>
            </a:r>
          </a:p>
        </p:txBody>
      </p:sp>
      <p:sp>
        <p:nvSpPr>
          <p:cNvPr id="7" name="Flowchart: Magnetic Disk 6">
            <a:extLst>
              <a:ext uri="{FF2B5EF4-FFF2-40B4-BE49-F238E27FC236}">
                <a16:creationId xmlns:a16="http://schemas.microsoft.com/office/drawing/2014/main" id="{66FA034A-DECC-4DF6-8A83-20683080023F}"/>
              </a:ext>
            </a:extLst>
          </p:cNvPr>
          <p:cNvSpPr/>
          <p:nvPr/>
        </p:nvSpPr>
        <p:spPr>
          <a:xfrm>
            <a:off x="5542211" y="1199197"/>
            <a:ext cx="1051560" cy="906780"/>
          </a:xfrm>
          <a:prstGeom prst="flowChartMagneticDisk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iginal Data</a:t>
            </a:r>
          </a:p>
        </p:txBody>
      </p:sp>
      <p:sp>
        <p:nvSpPr>
          <p:cNvPr id="9" name="Flowchart: Magnetic Disk 8">
            <a:extLst>
              <a:ext uri="{FF2B5EF4-FFF2-40B4-BE49-F238E27FC236}">
                <a16:creationId xmlns:a16="http://schemas.microsoft.com/office/drawing/2014/main" id="{674A2F57-3DB7-4030-8047-7F46471CDB1D}"/>
              </a:ext>
            </a:extLst>
          </p:cNvPr>
          <p:cNvSpPr>
            <a:spLocks/>
          </p:cNvSpPr>
          <p:nvPr/>
        </p:nvSpPr>
        <p:spPr>
          <a:xfrm>
            <a:off x="5504284" y="2510154"/>
            <a:ext cx="1127416" cy="655003"/>
          </a:xfrm>
          <a:prstGeom prst="flowChartMagneticDisk">
            <a:avLst/>
          </a:prstGeom>
          <a:solidFill>
            <a:schemeClr val="accent3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set 2</a:t>
            </a:r>
          </a:p>
        </p:txBody>
      </p:sp>
      <p:sp>
        <p:nvSpPr>
          <p:cNvPr id="10" name="Flowchart: Magnetic Disk 9">
            <a:extLst>
              <a:ext uri="{FF2B5EF4-FFF2-40B4-BE49-F238E27FC236}">
                <a16:creationId xmlns:a16="http://schemas.microsoft.com/office/drawing/2014/main" id="{A2C66B65-7EE2-4227-9914-B3274AC477DE}"/>
              </a:ext>
            </a:extLst>
          </p:cNvPr>
          <p:cNvSpPr>
            <a:spLocks/>
          </p:cNvSpPr>
          <p:nvPr/>
        </p:nvSpPr>
        <p:spPr>
          <a:xfrm>
            <a:off x="2981037" y="2510154"/>
            <a:ext cx="1127416" cy="655003"/>
          </a:xfrm>
          <a:prstGeom prst="flowChartMagneticDisk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set 1</a:t>
            </a:r>
          </a:p>
        </p:txBody>
      </p:sp>
      <p:sp>
        <p:nvSpPr>
          <p:cNvPr id="11" name="Flowchart: Magnetic Disk 10">
            <a:extLst>
              <a:ext uri="{FF2B5EF4-FFF2-40B4-BE49-F238E27FC236}">
                <a16:creationId xmlns:a16="http://schemas.microsoft.com/office/drawing/2014/main" id="{73375796-E70D-4D2C-BF64-148EC68D018D}"/>
              </a:ext>
            </a:extLst>
          </p:cNvPr>
          <p:cNvSpPr>
            <a:spLocks/>
          </p:cNvSpPr>
          <p:nvPr/>
        </p:nvSpPr>
        <p:spPr>
          <a:xfrm>
            <a:off x="7936657" y="2510154"/>
            <a:ext cx="1127416" cy="655003"/>
          </a:xfrm>
          <a:prstGeom prst="flowChartMagneticDisk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set 3</a:t>
            </a: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DAA39E7F-BC0E-4BEC-93A7-84002A634381}"/>
              </a:ext>
            </a:extLst>
          </p:cNvPr>
          <p:cNvCxnSpPr>
            <a:cxnSpLocks/>
            <a:stCxn id="7" idx="3"/>
            <a:endCxn id="10" idx="1"/>
          </p:cNvCxnSpPr>
          <p:nvPr/>
        </p:nvCxnSpPr>
        <p:spPr>
          <a:xfrm rot="5400000">
            <a:off x="4604280" y="1046442"/>
            <a:ext cx="404177" cy="2523246"/>
          </a:xfrm>
          <a:prstGeom prst="bentConnector3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2AC0BA10-DC2E-4081-88D7-A84216A8AFF6}"/>
              </a:ext>
            </a:extLst>
          </p:cNvPr>
          <p:cNvCxnSpPr>
            <a:cxnSpLocks/>
            <a:stCxn id="7" idx="3"/>
            <a:endCxn id="9" idx="1"/>
          </p:cNvCxnSpPr>
          <p:nvPr/>
        </p:nvCxnSpPr>
        <p:spPr>
          <a:xfrm rot="16200000" flipH="1">
            <a:off x="5865903" y="2308064"/>
            <a:ext cx="404177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658285E9-96CF-455D-87B7-9FFCC4E9AB1C}"/>
              </a:ext>
            </a:extLst>
          </p:cNvPr>
          <p:cNvCxnSpPr>
            <a:cxnSpLocks/>
            <a:stCxn id="7" idx="3"/>
            <a:endCxn id="11" idx="1"/>
          </p:cNvCxnSpPr>
          <p:nvPr/>
        </p:nvCxnSpPr>
        <p:spPr>
          <a:xfrm rot="16200000" flipH="1">
            <a:off x="7082090" y="1091878"/>
            <a:ext cx="404177" cy="2432374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BD7512AA-24E7-415A-A9CA-BB2687438C87}"/>
              </a:ext>
            </a:extLst>
          </p:cNvPr>
          <p:cNvCxnSpPr>
            <a:cxnSpLocks/>
            <a:stCxn id="10" idx="3"/>
            <a:endCxn id="20" idx="0"/>
          </p:cNvCxnSpPr>
          <p:nvPr/>
        </p:nvCxnSpPr>
        <p:spPr>
          <a:xfrm flipH="1">
            <a:off x="3543394" y="3165157"/>
            <a:ext cx="1351" cy="381317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id="{31CF973C-954E-4A8B-819D-7F4AF5CC1763}"/>
              </a:ext>
            </a:extLst>
          </p:cNvPr>
          <p:cNvGrpSpPr/>
          <p:nvPr/>
        </p:nvGrpSpPr>
        <p:grpSpPr>
          <a:xfrm>
            <a:off x="2507234" y="3546474"/>
            <a:ext cx="2075022" cy="1064261"/>
            <a:chOff x="2444751" y="3490277"/>
            <a:chExt cx="2075022" cy="1064261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F42F0D2-9F03-4604-A1B3-9F9319525E15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4975A47A-6212-4AEE-A128-AB67B1530FC9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B4B21AD8-F1C1-4BE2-BC7D-80AA1B927480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ABA64779-31D6-451D-8979-072FFCDE4F5C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7C8226EE-8436-4E3F-BB7A-93D0F800072A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3CF72D57-F8BC-4385-AE0D-23C7F720B3B6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B4195CE3-9C85-4614-9AE0-156822FDE408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FD0121AD-E815-4F8D-A686-903C07A26392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35" name="Connector: Elbow 34">
              <a:extLst>
                <a:ext uri="{FF2B5EF4-FFF2-40B4-BE49-F238E27FC236}">
                  <a16:creationId xmlns:a16="http://schemas.microsoft.com/office/drawing/2014/main" id="{58BF7403-5AD6-495F-BD9F-04C9933E9F25}"/>
                </a:ext>
              </a:extLst>
            </p:cNvPr>
            <p:cNvCxnSpPr>
              <a:cxnSpLocks/>
              <a:stCxn id="20" idx="4"/>
              <a:endCxn id="21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nector: Elbow 37">
              <a:extLst>
                <a:ext uri="{FF2B5EF4-FFF2-40B4-BE49-F238E27FC236}">
                  <a16:creationId xmlns:a16="http://schemas.microsoft.com/office/drawing/2014/main" id="{382418EF-D13E-46D4-A3AA-98E060241C4B}"/>
                </a:ext>
              </a:extLst>
            </p:cNvPr>
            <p:cNvCxnSpPr>
              <a:cxnSpLocks/>
              <a:stCxn id="20" idx="4"/>
              <a:endCxn id="22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nector: Elbow 40">
              <a:extLst>
                <a:ext uri="{FF2B5EF4-FFF2-40B4-BE49-F238E27FC236}">
                  <a16:creationId xmlns:a16="http://schemas.microsoft.com/office/drawing/2014/main" id="{1520B3BF-A53E-4519-826B-B420EABFE7D8}"/>
                </a:ext>
              </a:extLst>
            </p:cNvPr>
            <p:cNvCxnSpPr>
              <a:cxnSpLocks/>
              <a:stCxn id="22" idx="4"/>
              <a:endCxn id="26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ctor: Elbow 43">
              <a:extLst>
                <a:ext uri="{FF2B5EF4-FFF2-40B4-BE49-F238E27FC236}">
                  <a16:creationId xmlns:a16="http://schemas.microsoft.com/office/drawing/2014/main" id="{8D86C949-FF72-44EA-97E5-64A889D0003E}"/>
                </a:ext>
              </a:extLst>
            </p:cNvPr>
            <p:cNvCxnSpPr>
              <a:cxnSpLocks/>
              <a:stCxn id="22" idx="4"/>
              <a:endCxn id="25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nector: Elbow 46">
              <a:extLst>
                <a:ext uri="{FF2B5EF4-FFF2-40B4-BE49-F238E27FC236}">
                  <a16:creationId xmlns:a16="http://schemas.microsoft.com/office/drawing/2014/main" id="{018AB3B1-75C7-4687-BB37-65BF1838656A}"/>
                </a:ext>
              </a:extLst>
            </p:cNvPr>
            <p:cNvCxnSpPr>
              <a:cxnSpLocks/>
              <a:stCxn id="21" idx="4"/>
              <a:endCxn id="24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or: Elbow 49">
              <a:extLst>
                <a:ext uri="{FF2B5EF4-FFF2-40B4-BE49-F238E27FC236}">
                  <a16:creationId xmlns:a16="http://schemas.microsoft.com/office/drawing/2014/main" id="{A5571CBF-D025-47B9-A6AC-A23D1507BF9F}"/>
                </a:ext>
              </a:extLst>
            </p:cNvPr>
            <p:cNvCxnSpPr>
              <a:cxnSpLocks/>
              <a:stCxn id="21" idx="4"/>
              <a:endCxn id="23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136CCE01-CE8D-444B-81A4-AE7138D2E71E}"/>
              </a:ext>
            </a:extLst>
          </p:cNvPr>
          <p:cNvGrpSpPr/>
          <p:nvPr/>
        </p:nvGrpSpPr>
        <p:grpSpPr>
          <a:xfrm>
            <a:off x="5030481" y="3546474"/>
            <a:ext cx="2075022" cy="1064261"/>
            <a:chOff x="2444751" y="3490277"/>
            <a:chExt cx="2075022" cy="1064261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BB682320-FC2C-4C48-B15B-5269B2E4A60D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B1A0A8C7-F7F2-415F-AFA1-649323A08D14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463AA78E-492D-443F-9F58-2CC9E3DCFD6B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EFFA9A0B-22D6-4FCD-A589-2BB68D78E218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5711E771-F6CC-4828-B8F4-CE33B9120FA2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C99F045B-AE03-4905-8968-331FB16C08CF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7EFF9F79-89AD-4C84-B455-F9651A14F06E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D0571AD3-F548-4027-915B-EA0C48A9977F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56" name="Connector: Elbow 55">
              <a:extLst>
                <a:ext uri="{FF2B5EF4-FFF2-40B4-BE49-F238E27FC236}">
                  <a16:creationId xmlns:a16="http://schemas.microsoft.com/office/drawing/2014/main" id="{3F3AEC5F-3B65-480A-BDFE-254D94021E62}"/>
                </a:ext>
              </a:extLst>
            </p:cNvPr>
            <p:cNvCxnSpPr>
              <a:cxnSpLocks/>
              <a:stCxn id="62" idx="4"/>
              <a:endCxn id="63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nector: Elbow 56">
              <a:extLst>
                <a:ext uri="{FF2B5EF4-FFF2-40B4-BE49-F238E27FC236}">
                  <a16:creationId xmlns:a16="http://schemas.microsoft.com/office/drawing/2014/main" id="{75C69C38-2CA9-4889-80FE-CBF7C0C26487}"/>
                </a:ext>
              </a:extLst>
            </p:cNvPr>
            <p:cNvCxnSpPr>
              <a:cxnSpLocks/>
              <a:stCxn id="62" idx="4"/>
              <a:endCxn id="64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onnector: Elbow 57">
              <a:extLst>
                <a:ext uri="{FF2B5EF4-FFF2-40B4-BE49-F238E27FC236}">
                  <a16:creationId xmlns:a16="http://schemas.microsoft.com/office/drawing/2014/main" id="{86258DA6-1FA9-44AD-AC4B-41DAD687904B}"/>
                </a:ext>
              </a:extLst>
            </p:cNvPr>
            <p:cNvCxnSpPr>
              <a:cxnSpLocks/>
              <a:stCxn id="64" idx="4"/>
              <a:endCxn id="68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Connector: Elbow 58">
              <a:extLst>
                <a:ext uri="{FF2B5EF4-FFF2-40B4-BE49-F238E27FC236}">
                  <a16:creationId xmlns:a16="http://schemas.microsoft.com/office/drawing/2014/main" id="{2070683D-E628-44E4-8200-08A370D57C8C}"/>
                </a:ext>
              </a:extLst>
            </p:cNvPr>
            <p:cNvCxnSpPr>
              <a:cxnSpLocks/>
              <a:stCxn id="64" idx="4"/>
              <a:endCxn id="67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Connector: Elbow 59">
              <a:extLst>
                <a:ext uri="{FF2B5EF4-FFF2-40B4-BE49-F238E27FC236}">
                  <a16:creationId xmlns:a16="http://schemas.microsoft.com/office/drawing/2014/main" id="{C56465BC-AF53-48CD-B849-10AE0E806F89}"/>
                </a:ext>
              </a:extLst>
            </p:cNvPr>
            <p:cNvCxnSpPr>
              <a:cxnSpLocks/>
              <a:stCxn id="63" idx="4"/>
              <a:endCxn id="66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Connector: Elbow 60">
              <a:extLst>
                <a:ext uri="{FF2B5EF4-FFF2-40B4-BE49-F238E27FC236}">
                  <a16:creationId xmlns:a16="http://schemas.microsoft.com/office/drawing/2014/main" id="{C314BA13-B1B8-486C-9D8F-21E5B80682C9}"/>
                </a:ext>
              </a:extLst>
            </p:cNvPr>
            <p:cNvCxnSpPr>
              <a:cxnSpLocks/>
              <a:stCxn id="63" idx="4"/>
              <a:endCxn id="65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9" name="Connector: Elbow 26">
            <a:extLst>
              <a:ext uri="{FF2B5EF4-FFF2-40B4-BE49-F238E27FC236}">
                <a16:creationId xmlns:a16="http://schemas.microsoft.com/office/drawing/2014/main" id="{0745444D-4D26-4AC2-9040-CF714F55B255}"/>
              </a:ext>
            </a:extLst>
          </p:cNvPr>
          <p:cNvCxnSpPr>
            <a:cxnSpLocks/>
            <a:stCxn id="9" idx="3"/>
            <a:endCxn id="62" idx="0"/>
          </p:cNvCxnSpPr>
          <p:nvPr/>
        </p:nvCxnSpPr>
        <p:spPr>
          <a:xfrm flipH="1">
            <a:off x="6066641" y="3165157"/>
            <a:ext cx="1351" cy="381317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nector: Elbow 26">
            <a:extLst>
              <a:ext uri="{FF2B5EF4-FFF2-40B4-BE49-F238E27FC236}">
                <a16:creationId xmlns:a16="http://schemas.microsoft.com/office/drawing/2014/main" id="{AEB0A4BB-BFF0-4851-A5DB-3AABDEABE1B1}"/>
              </a:ext>
            </a:extLst>
          </p:cNvPr>
          <p:cNvCxnSpPr>
            <a:cxnSpLocks/>
            <a:stCxn id="11" idx="3"/>
            <a:endCxn id="83" idx="0"/>
          </p:cNvCxnSpPr>
          <p:nvPr/>
        </p:nvCxnSpPr>
        <p:spPr>
          <a:xfrm flipH="1">
            <a:off x="8449681" y="3165157"/>
            <a:ext cx="0" cy="381317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Group 74">
            <a:extLst>
              <a:ext uri="{FF2B5EF4-FFF2-40B4-BE49-F238E27FC236}">
                <a16:creationId xmlns:a16="http://schemas.microsoft.com/office/drawing/2014/main" id="{F9C3B9D7-1D0A-4799-85E6-16738B1ADC46}"/>
              </a:ext>
            </a:extLst>
          </p:cNvPr>
          <p:cNvGrpSpPr/>
          <p:nvPr/>
        </p:nvGrpSpPr>
        <p:grpSpPr>
          <a:xfrm>
            <a:off x="7413521" y="3546474"/>
            <a:ext cx="2075022" cy="1064261"/>
            <a:chOff x="2444751" y="3490277"/>
            <a:chExt cx="2075022" cy="1064261"/>
          </a:xfrm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CD264084-86BD-4E49-A106-F2C26286996E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95E2D922-452E-4FFD-847C-39C5B750ED75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C2F77C24-E7DB-47CA-9411-DBAF1CEB5F68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EA3A8CFB-32C4-4513-AC8D-BF274904256A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49D83123-B4C2-40A4-B1E0-159DF1088FF9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0AF9191D-C2EC-427C-ADC5-8F33D1FC6667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24465238-5E6A-49F7-906B-183727D921F6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" name="Oval 88">
                <a:extLst>
                  <a:ext uri="{FF2B5EF4-FFF2-40B4-BE49-F238E27FC236}">
                    <a16:creationId xmlns:a16="http://schemas.microsoft.com/office/drawing/2014/main" id="{D502E8E1-3D01-47AC-93BD-1A5854A7282C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77" name="Connector: Elbow 76">
              <a:extLst>
                <a:ext uri="{FF2B5EF4-FFF2-40B4-BE49-F238E27FC236}">
                  <a16:creationId xmlns:a16="http://schemas.microsoft.com/office/drawing/2014/main" id="{7CD25BAA-C07E-4617-978D-2BDE71466255}"/>
                </a:ext>
              </a:extLst>
            </p:cNvPr>
            <p:cNvCxnSpPr>
              <a:cxnSpLocks/>
              <a:stCxn id="83" idx="4"/>
              <a:endCxn id="84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Connector: Elbow 77">
              <a:extLst>
                <a:ext uri="{FF2B5EF4-FFF2-40B4-BE49-F238E27FC236}">
                  <a16:creationId xmlns:a16="http://schemas.microsoft.com/office/drawing/2014/main" id="{8252DB8C-7D03-41CF-B03E-DB1BE57D7E99}"/>
                </a:ext>
              </a:extLst>
            </p:cNvPr>
            <p:cNvCxnSpPr>
              <a:cxnSpLocks/>
              <a:stCxn id="83" idx="4"/>
              <a:endCxn id="85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Connector: Elbow 78">
              <a:extLst>
                <a:ext uri="{FF2B5EF4-FFF2-40B4-BE49-F238E27FC236}">
                  <a16:creationId xmlns:a16="http://schemas.microsoft.com/office/drawing/2014/main" id="{DDBF6D96-D3C0-4FE6-8E6A-902CEA20D071}"/>
                </a:ext>
              </a:extLst>
            </p:cNvPr>
            <p:cNvCxnSpPr>
              <a:cxnSpLocks/>
              <a:stCxn id="85" idx="4"/>
              <a:endCxn id="89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Connector: Elbow 79">
              <a:extLst>
                <a:ext uri="{FF2B5EF4-FFF2-40B4-BE49-F238E27FC236}">
                  <a16:creationId xmlns:a16="http://schemas.microsoft.com/office/drawing/2014/main" id="{2DCCAD79-2063-4F22-BD43-E22559ADDCE8}"/>
                </a:ext>
              </a:extLst>
            </p:cNvPr>
            <p:cNvCxnSpPr>
              <a:cxnSpLocks/>
              <a:stCxn id="85" idx="4"/>
              <a:endCxn id="88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Connector: Elbow 80">
              <a:extLst>
                <a:ext uri="{FF2B5EF4-FFF2-40B4-BE49-F238E27FC236}">
                  <a16:creationId xmlns:a16="http://schemas.microsoft.com/office/drawing/2014/main" id="{AA0B5DB3-1B2F-47FE-A48B-71AF6919BB9F}"/>
                </a:ext>
              </a:extLst>
            </p:cNvPr>
            <p:cNvCxnSpPr>
              <a:cxnSpLocks/>
              <a:stCxn id="84" idx="4"/>
              <a:endCxn id="87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Connector: Elbow 81">
              <a:extLst>
                <a:ext uri="{FF2B5EF4-FFF2-40B4-BE49-F238E27FC236}">
                  <a16:creationId xmlns:a16="http://schemas.microsoft.com/office/drawing/2014/main" id="{9B456359-B447-419E-B951-FC738FCCE740}"/>
                </a:ext>
              </a:extLst>
            </p:cNvPr>
            <p:cNvCxnSpPr>
              <a:cxnSpLocks/>
              <a:stCxn id="84" idx="4"/>
              <a:endCxn id="86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1" name="Flowchart: Decision 90">
            <a:extLst>
              <a:ext uri="{FF2B5EF4-FFF2-40B4-BE49-F238E27FC236}">
                <a16:creationId xmlns:a16="http://schemas.microsoft.com/office/drawing/2014/main" id="{3C58D2B1-BE0D-4EC5-8394-2BA3DDD100CB}"/>
              </a:ext>
            </a:extLst>
          </p:cNvPr>
          <p:cNvSpPr/>
          <p:nvPr/>
        </p:nvSpPr>
        <p:spPr>
          <a:xfrm>
            <a:off x="4432787" y="5032215"/>
            <a:ext cx="3249696" cy="1145382"/>
          </a:xfrm>
          <a:prstGeom prst="flowChartDecision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semble of Models</a:t>
            </a:r>
          </a:p>
        </p:txBody>
      </p:sp>
      <p:cxnSp>
        <p:nvCxnSpPr>
          <p:cNvPr id="94" name="Connector: Elbow 93">
            <a:extLst>
              <a:ext uri="{FF2B5EF4-FFF2-40B4-BE49-F238E27FC236}">
                <a16:creationId xmlns:a16="http://schemas.microsoft.com/office/drawing/2014/main" id="{B34FCFD5-8550-4617-BCF2-B0726EDD30E1}"/>
              </a:ext>
            </a:extLst>
          </p:cNvPr>
          <p:cNvCxnSpPr>
            <a:cxnSpLocks/>
            <a:stCxn id="96" idx="2"/>
            <a:endCxn id="91" idx="0"/>
          </p:cNvCxnSpPr>
          <p:nvPr/>
        </p:nvCxnSpPr>
        <p:spPr>
          <a:xfrm rot="16200000" flipH="1">
            <a:off x="4587859" y="3562439"/>
            <a:ext cx="421480" cy="251807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tangle 95">
            <a:extLst>
              <a:ext uri="{FF2B5EF4-FFF2-40B4-BE49-F238E27FC236}">
                <a16:creationId xmlns:a16="http://schemas.microsoft.com/office/drawing/2014/main" id="{7E808DD2-B4D8-405C-93E1-05781DC942A3}"/>
              </a:ext>
            </a:extLst>
          </p:cNvPr>
          <p:cNvSpPr/>
          <p:nvPr/>
        </p:nvSpPr>
        <p:spPr>
          <a:xfrm>
            <a:off x="3435761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389181BE-2AC8-421A-B321-3299244FAFB7}"/>
              </a:ext>
            </a:extLst>
          </p:cNvPr>
          <p:cNvSpPr/>
          <p:nvPr/>
        </p:nvSpPr>
        <p:spPr>
          <a:xfrm>
            <a:off x="5963260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360EF1E9-3280-4346-87AF-DDE0B935616E}"/>
              </a:ext>
            </a:extLst>
          </p:cNvPr>
          <p:cNvSpPr/>
          <p:nvPr/>
        </p:nvSpPr>
        <p:spPr>
          <a:xfrm>
            <a:off x="8350461" y="4416742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01" name="Connector: Elbow 100">
            <a:extLst>
              <a:ext uri="{FF2B5EF4-FFF2-40B4-BE49-F238E27FC236}">
                <a16:creationId xmlns:a16="http://schemas.microsoft.com/office/drawing/2014/main" id="{5B710C9B-F778-4B1E-928C-93E9B04B29B8}"/>
              </a:ext>
            </a:extLst>
          </p:cNvPr>
          <p:cNvCxnSpPr>
            <a:cxnSpLocks/>
            <a:stCxn id="99" idx="2"/>
            <a:endCxn id="91" idx="0"/>
          </p:cNvCxnSpPr>
          <p:nvPr/>
        </p:nvCxnSpPr>
        <p:spPr>
          <a:xfrm rot="5400000">
            <a:off x="5851609" y="4816761"/>
            <a:ext cx="421480" cy="942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nector: Elbow 103">
            <a:extLst>
              <a:ext uri="{FF2B5EF4-FFF2-40B4-BE49-F238E27FC236}">
                <a16:creationId xmlns:a16="http://schemas.microsoft.com/office/drawing/2014/main" id="{74D6DF1B-CEE0-4EF1-8979-0F03BD650F2C}"/>
              </a:ext>
            </a:extLst>
          </p:cNvPr>
          <p:cNvCxnSpPr>
            <a:cxnSpLocks/>
            <a:stCxn id="100" idx="2"/>
            <a:endCxn id="91" idx="0"/>
          </p:cNvCxnSpPr>
          <p:nvPr/>
        </p:nvCxnSpPr>
        <p:spPr>
          <a:xfrm rot="5400000">
            <a:off x="7045210" y="3623161"/>
            <a:ext cx="421480" cy="239662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ounded Rectangle 69">
            <a:extLst>
              <a:ext uri="{FF2B5EF4-FFF2-40B4-BE49-F238E27FC236}">
                <a16:creationId xmlns:a16="http://schemas.microsoft.com/office/drawing/2014/main" id="{C17CF59D-2557-7F48-8541-EF57B7E5971B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7767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6EEF820-6BC8-4B3B-AE1F-5A4BDB2553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811" name="think-cell Slide" r:id="rId7" imgW="353" imgH="353" progId="TCLayout.ActiveDocument.1">
                  <p:embed/>
                </p:oleObj>
              </mc:Choice>
              <mc:Fallback>
                <p:oleObj name="think-cell Slide" r:id="rId7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6EEF820-6BC8-4B3B-AE1F-5A4BDB255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E663415-EA74-47E3-A57C-05308A0A0A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B37D80-125C-394E-B60D-3BB7CFA18AE8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Improve model performance by combining multiple models into ensemble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C2FDEFD-5328-43B6-980D-45F3A0B1F0E1}"/>
              </a:ext>
            </a:extLst>
          </p:cNvPr>
          <p:cNvSpPr>
            <a:spLocks/>
          </p:cNvSpPr>
          <p:nvPr/>
        </p:nvSpPr>
        <p:spPr>
          <a:xfrm>
            <a:off x="475488" y="1105533"/>
            <a:ext cx="7284212" cy="51657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604968-F075-41A7-8A34-32A7461DD36F}"/>
              </a:ext>
            </a:extLst>
          </p:cNvPr>
          <p:cNvSpPr/>
          <p:nvPr/>
        </p:nvSpPr>
        <p:spPr>
          <a:xfrm>
            <a:off x="3618098" y="1229014"/>
            <a:ext cx="1051560" cy="64278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 data</a:t>
            </a:r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85959873-5556-4CC8-A82F-457A8A092B75}"/>
              </a:ext>
            </a:extLst>
          </p:cNvPr>
          <p:cNvCxnSpPr>
            <a:cxnSpLocks/>
            <a:stCxn id="10" idx="2"/>
            <a:endCxn id="26" idx="0"/>
          </p:cNvCxnSpPr>
          <p:nvPr/>
        </p:nvCxnSpPr>
        <p:spPr>
          <a:xfrm rot="5400000">
            <a:off x="2443847" y="1047229"/>
            <a:ext cx="875467" cy="2524597"/>
          </a:xfrm>
          <a:prstGeom prst="bentConnector3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D56D1E10-54FF-4A51-AA4A-F55AF16BC04E}"/>
              </a:ext>
            </a:extLst>
          </p:cNvPr>
          <p:cNvCxnSpPr>
            <a:cxnSpLocks/>
            <a:stCxn id="10" idx="2"/>
            <a:endCxn id="41" idx="0"/>
          </p:cNvCxnSpPr>
          <p:nvPr/>
        </p:nvCxnSpPr>
        <p:spPr>
          <a:xfrm flipH="1">
            <a:off x="4142528" y="1871794"/>
            <a:ext cx="1350" cy="875467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144A4B3F-FA09-4C27-8D64-A34090570052}"/>
              </a:ext>
            </a:extLst>
          </p:cNvPr>
          <p:cNvCxnSpPr>
            <a:cxnSpLocks/>
            <a:stCxn id="10" idx="2"/>
            <a:endCxn id="58" idx="0"/>
          </p:cNvCxnSpPr>
          <p:nvPr/>
        </p:nvCxnSpPr>
        <p:spPr>
          <a:xfrm rot="16200000" flipH="1">
            <a:off x="4896990" y="1118682"/>
            <a:ext cx="875467" cy="238169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C564957-7E6F-45C7-990B-2122B72468CF}"/>
              </a:ext>
            </a:extLst>
          </p:cNvPr>
          <p:cNvGrpSpPr/>
          <p:nvPr/>
        </p:nvGrpSpPr>
        <p:grpSpPr>
          <a:xfrm>
            <a:off x="583121" y="2747261"/>
            <a:ext cx="2075022" cy="1064261"/>
            <a:chOff x="2444751" y="3490277"/>
            <a:chExt cx="2075022" cy="1064261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C446C4F-B875-4CA7-98F4-F379C29A980A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2F19351D-34B9-4237-A972-5702970904DE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EFDBA4E0-F37F-432F-9832-2B674CA36D0E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F98B412C-AA40-4378-963B-7E78AE5864CA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FEF175C4-61C8-45E1-9B88-D7691443973F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990904D0-44D0-4D5E-A75B-02BC84D1810E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EB7D9DF1-F679-494E-97EF-8B28ABB16A56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01D97ED6-C477-4845-91F6-EDD1ACFA4409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20" name="Connector: Elbow 19">
              <a:extLst>
                <a:ext uri="{FF2B5EF4-FFF2-40B4-BE49-F238E27FC236}">
                  <a16:creationId xmlns:a16="http://schemas.microsoft.com/office/drawing/2014/main" id="{2C183F2B-4703-43A0-A2BF-1A41FD1DD85F}"/>
                </a:ext>
              </a:extLst>
            </p:cNvPr>
            <p:cNvCxnSpPr>
              <a:cxnSpLocks/>
              <a:stCxn id="26" idx="4"/>
              <a:endCxn id="27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or: Elbow 20">
              <a:extLst>
                <a:ext uri="{FF2B5EF4-FFF2-40B4-BE49-F238E27FC236}">
                  <a16:creationId xmlns:a16="http://schemas.microsoft.com/office/drawing/2014/main" id="{D07A2433-85E2-441C-B4BD-05B0C1DE9C12}"/>
                </a:ext>
              </a:extLst>
            </p:cNvPr>
            <p:cNvCxnSpPr>
              <a:cxnSpLocks/>
              <a:stCxn id="26" idx="4"/>
              <a:endCxn id="28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nector: Elbow 21">
              <a:extLst>
                <a:ext uri="{FF2B5EF4-FFF2-40B4-BE49-F238E27FC236}">
                  <a16:creationId xmlns:a16="http://schemas.microsoft.com/office/drawing/2014/main" id="{FCF2E957-49CE-4099-818B-36E1543CA2D0}"/>
                </a:ext>
              </a:extLst>
            </p:cNvPr>
            <p:cNvCxnSpPr>
              <a:cxnSpLocks/>
              <a:stCxn id="28" idx="4"/>
              <a:endCxn id="32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or: Elbow 22">
              <a:extLst>
                <a:ext uri="{FF2B5EF4-FFF2-40B4-BE49-F238E27FC236}">
                  <a16:creationId xmlns:a16="http://schemas.microsoft.com/office/drawing/2014/main" id="{82C7D952-D876-4AD4-8FFD-A83CBA30283D}"/>
                </a:ext>
              </a:extLst>
            </p:cNvPr>
            <p:cNvCxnSpPr>
              <a:cxnSpLocks/>
              <a:stCxn id="28" idx="4"/>
              <a:endCxn id="31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or: Elbow 23">
              <a:extLst>
                <a:ext uri="{FF2B5EF4-FFF2-40B4-BE49-F238E27FC236}">
                  <a16:creationId xmlns:a16="http://schemas.microsoft.com/office/drawing/2014/main" id="{E6C57534-582B-49FC-A89C-D050E08A0F64}"/>
                </a:ext>
              </a:extLst>
            </p:cNvPr>
            <p:cNvCxnSpPr>
              <a:cxnSpLocks/>
              <a:stCxn id="27" idx="4"/>
              <a:endCxn id="30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or: Elbow 24">
              <a:extLst>
                <a:ext uri="{FF2B5EF4-FFF2-40B4-BE49-F238E27FC236}">
                  <a16:creationId xmlns:a16="http://schemas.microsoft.com/office/drawing/2014/main" id="{BCFB5F60-2A00-46B0-A3C2-E4230F5D955A}"/>
                </a:ext>
              </a:extLst>
            </p:cNvPr>
            <p:cNvCxnSpPr>
              <a:cxnSpLocks/>
              <a:stCxn id="27" idx="4"/>
              <a:endCxn id="29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D6E8304-8471-4795-9F04-531DE7E3EBA0}"/>
              </a:ext>
            </a:extLst>
          </p:cNvPr>
          <p:cNvGrpSpPr/>
          <p:nvPr/>
        </p:nvGrpSpPr>
        <p:grpSpPr>
          <a:xfrm>
            <a:off x="3106368" y="2747261"/>
            <a:ext cx="2075022" cy="1064261"/>
            <a:chOff x="2444751" y="3490277"/>
            <a:chExt cx="2075022" cy="1064261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16479C1F-CC31-4A7E-8384-95AEA22184A0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79A4B80A-82E3-4ADA-90E4-10ADEADAFC1E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C35DC391-C836-4B08-AA35-1B55E4904AAD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0E7F7A1A-B7E1-458C-A4FC-9EFEDA216D03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A77D3EEF-1913-4CF6-B601-A37EEEB03CDA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C49DE100-9AAF-4919-9C0D-4D068B9652F5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8D9AFC7A-48CC-4222-B135-B336D078A87A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62E6758B-DE8D-4173-8D38-B75AD71A98EB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35" name="Connector: Elbow 34">
              <a:extLst>
                <a:ext uri="{FF2B5EF4-FFF2-40B4-BE49-F238E27FC236}">
                  <a16:creationId xmlns:a16="http://schemas.microsoft.com/office/drawing/2014/main" id="{AA1514F2-206A-4193-8E39-AC525C86B09A}"/>
                </a:ext>
              </a:extLst>
            </p:cNvPr>
            <p:cNvCxnSpPr>
              <a:cxnSpLocks/>
              <a:stCxn id="41" idx="4"/>
              <a:endCxn id="42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Connector: Elbow 35">
              <a:extLst>
                <a:ext uri="{FF2B5EF4-FFF2-40B4-BE49-F238E27FC236}">
                  <a16:creationId xmlns:a16="http://schemas.microsoft.com/office/drawing/2014/main" id="{34F9750E-4110-4380-9234-D74CC61B4C56}"/>
                </a:ext>
              </a:extLst>
            </p:cNvPr>
            <p:cNvCxnSpPr>
              <a:cxnSpLocks/>
              <a:stCxn id="41" idx="4"/>
              <a:endCxn id="43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nector: Elbow 36">
              <a:extLst>
                <a:ext uri="{FF2B5EF4-FFF2-40B4-BE49-F238E27FC236}">
                  <a16:creationId xmlns:a16="http://schemas.microsoft.com/office/drawing/2014/main" id="{B9C550DB-D9F1-4250-8613-ACF7741F7604}"/>
                </a:ext>
              </a:extLst>
            </p:cNvPr>
            <p:cNvCxnSpPr>
              <a:cxnSpLocks/>
              <a:stCxn id="43" idx="4"/>
              <a:endCxn id="47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nector: Elbow 37">
              <a:extLst>
                <a:ext uri="{FF2B5EF4-FFF2-40B4-BE49-F238E27FC236}">
                  <a16:creationId xmlns:a16="http://schemas.microsoft.com/office/drawing/2014/main" id="{BDF5755F-077B-4FF2-8735-E5C27F4B2D4C}"/>
                </a:ext>
              </a:extLst>
            </p:cNvPr>
            <p:cNvCxnSpPr>
              <a:cxnSpLocks/>
              <a:stCxn id="43" idx="4"/>
              <a:endCxn id="46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ctor: Elbow 38">
              <a:extLst>
                <a:ext uri="{FF2B5EF4-FFF2-40B4-BE49-F238E27FC236}">
                  <a16:creationId xmlns:a16="http://schemas.microsoft.com/office/drawing/2014/main" id="{1BADD78D-63B9-4821-AA36-959020F2FED8}"/>
                </a:ext>
              </a:extLst>
            </p:cNvPr>
            <p:cNvCxnSpPr>
              <a:cxnSpLocks/>
              <a:stCxn id="42" idx="4"/>
              <a:endCxn id="45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nector: Elbow 39">
              <a:extLst>
                <a:ext uri="{FF2B5EF4-FFF2-40B4-BE49-F238E27FC236}">
                  <a16:creationId xmlns:a16="http://schemas.microsoft.com/office/drawing/2014/main" id="{3F840F5A-EA70-4173-9961-C25BD1BAA5A5}"/>
                </a:ext>
              </a:extLst>
            </p:cNvPr>
            <p:cNvCxnSpPr>
              <a:cxnSpLocks/>
              <a:stCxn id="42" idx="4"/>
              <a:endCxn id="44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B210B398-3B4E-4C22-BD8B-1E273224716D}"/>
              </a:ext>
            </a:extLst>
          </p:cNvPr>
          <p:cNvGrpSpPr/>
          <p:nvPr/>
        </p:nvGrpSpPr>
        <p:grpSpPr>
          <a:xfrm>
            <a:off x="5489408" y="2747261"/>
            <a:ext cx="2075022" cy="1064261"/>
            <a:chOff x="2444751" y="3490277"/>
            <a:chExt cx="2075022" cy="1064261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876FD657-B1B4-4180-8DEE-B0F0E50D20EB}"/>
                </a:ext>
              </a:extLst>
            </p:cNvPr>
            <p:cNvGrpSpPr/>
            <p:nvPr/>
          </p:nvGrpSpPr>
          <p:grpSpPr>
            <a:xfrm>
              <a:off x="2444751" y="3490277"/>
              <a:ext cx="2075022" cy="1064261"/>
              <a:chOff x="2444751" y="3490277"/>
              <a:chExt cx="2075022" cy="1064261"/>
            </a:xfrm>
          </p:grpSpPr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9501DE52-3797-45AD-8CA5-1F4652B20E49}"/>
                  </a:ext>
                </a:extLst>
              </p:cNvPr>
              <p:cNvSpPr/>
              <p:nvPr/>
            </p:nvSpPr>
            <p:spPr>
              <a:xfrm>
                <a:off x="3373278" y="3490277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99F10F0E-D212-443A-957E-F42953EE0BDF}"/>
                  </a:ext>
                </a:extLst>
              </p:cNvPr>
              <p:cNvSpPr/>
              <p:nvPr/>
            </p:nvSpPr>
            <p:spPr>
              <a:xfrm>
                <a:off x="2761457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BBBF5988-0BCB-4CD5-9EC0-EC467C9CB3DB}"/>
                  </a:ext>
                </a:extLst>
              </p:cNvPr>
              <p:cNvSpPr/>
              <p:nvPr/>
            </p:nvSpPr>
            <p:spPr>
              <a:xfrm>
                <a:off x="3996533" y="3917791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624E4277-6F7E-4403-A04E-6560FF974633}"/>
                  </a:ext>
                </a:extLst>
              </p:cNvPr>
              <p:cNvSpPr/>
              <p:nvPr/>
            </p:nvSpPr>
            <p:spPr>
              <a:xfrm>
                <a:off x="2444751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784DB901-2673-4901-B47E-7DD32E7503B8}"/>
                  </a:ext>
                </a:extLst>
              </p:cNvPr>
              <p:cNvSpPr/>
              <p:nvPr/>
            </p:nvSpPr>
            <p:spPr>
              <a:xfrm>
                <a:off x="3071020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B278F5BF-977E-4750-B583-41FE6192EF25}"/>
                  </a:ext>
                </a:extLst>
              </p:cNvPr>
              <p:cNvSpPr/>
              <p:nvPr/>
            </p:nvSpPr>
            <p:spPr>
              <a:xfrm>
                <a:off x="3694113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45C027B2-771F-471B-8061-2F184D9CD98C}"/>
                  </a:ext>
                </a:extLst>
              </p:cNvPr>
              <p:cNvSpPr/>
              <p:nvPr/>
            </p:nvSpPr>
            <p:spPr>
              <a:xfrm>
                <a:off x="4304507" y="4339272"/>
                <a:ext cx="215266" cy="215266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52" name="Connector: Elbow 51">
              <a:extLst>
                <a:ext uri="{FF2B5EF4-FFF2-40B4-BE49-F238E27FC236}">
                  <a16:creationId xmlns:a16="http://schemas.microsoft.com/office/drawing/2014/main" id="{56373F34-60E6-472C-A166-5D1A6209C926}"/>
                </a:ext>
              </a:extLst>
            </p:cNvPr>
            <p:cNvCxnSpPr>
              <a:cxnSpLocks/>
              <a:stCxn id="58" idx="4"/>
              <a:endCxn id="59" idx="0"/>
            </p:cNvCxnSpPr>
            <p:nvPr/>
          </p:nvCxnSpPr>
          <p:spPr>
            <a:xfrm rot="5400000">
              <a:off x="3068877" y="3505757"/>
              <a:ext cx="212248" cy="6118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Connector: Elbow 52">
              <a:extLst>
                <a:ext uri="{FF2B5EF4-FFF2-40B4-BE49-F238E27FC236}">
                  <a16:creationId xmlns:a16="http://schemas.microsoft.com/office/drawing/2014/main" id="{82E0C5E2-0E27-4896-809F-5529B8A3E016}"/>
                </a:ext>
              </a:extLst>
            </p:cNvPr>
            <p:cNvCxnSpPr>
              <a:cxnSpLocks/>
              <a:stCxn id="58" idx="4"/>
              <a:endCxn id="60" idx="0"/>
            </p:cNvCxnSpPr>
            <p:nvPr/>
          </p:nvCxnSpPr>
          <p:spPr>
            <a:xfrm rot="16200000" flipH="1">
              <a:off x="3686414" y="3500039"/>
              <a:ext cx="212248" cy="623255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Connector: Elbow 53">
              <a:extLst>
                <a:ext uri="{FF2B5EF4-FFF2-40B4-BE49-F238E27FC236}">
                  <a16:creationId xmlns:a16="http://schemas.microsoft.com/office/drawing/2014/main" id="{9D02146D-E11A-4FD2-B535-565F550CA41A}"/>
                </a:ext>
              </a:extLst>
            </p:cNvPr>
            <p:cNvCxnSpPr>
              <a:cxnSpLocks/>
              <a:stCxn id="60" idx="4"/>
              <a:endCxn id="64" idx="0"/>
            </p:cNvCxnSpPr>
            <p:nvPr/>
          </p:nvCxnSpPr>
          <p:spPr>
            <a:xfrm rot="16200000" flipH="1">
              <a:off x="4155046" y="4082177"/>
              <a:ext cx="206215" cy="307974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Connector: Elbow 54">
              <a:extLst>
                <a:ext uri="{FF2B5EF4-FFF2-40B4-BE49-F238E27FC236}">
                  <a16:creationId xmlns:a16="http://schemas.microsoft.com/office/drawing/2014/main" id="{C1D346F5-5486-4A6D-BF9E-923C3D910681}"/>
                </a:ext>
              </a:extLst>
            </p:cNvPr>
            <p:cNvCxnSpPr>
              <a:cxnSpLocks/>
              <a:stCxn id="60" idx="4"/>
              <a:endCxn id="63" idx="0"/>
            </p:cNvCxnSpPr>
            <p:nvPr/>
          </p:nvCxnSpPr>
          <p:spPr>
            <a:xfrm rot="5400000">
              <a:off x="3849849" y="4084954"/>
              <a:ext cx="206215" cy="30242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Connector: Elbow 55">
              <a:extLst>
                <a:ext uri="{FF2B5EF4-FFF2-40B4-BE49-F238E27FC236}">
                  <a16:creationId xmlns:a16="http://schemas.microsoft.com/office/drawing/2014/main" id="{402E05D3-B7AA-4DBC-90E5-08B2A00CD9B2}"/>
                </a:ext>
              </a:extLst>
            </p:cNvPr>
            <p:cNvCxnSpPr>
              <a:cxnSpLocks/>
              <a:stCxn id="59" idx="4"/>
              <a:endCxn id="62" idx="0"/>
            </p:cNvCxnSpPr>
            <p:nvPr/>
          </p:nvCxnSpPr>
          <p:spPr>
            <a:xfrm rot="16200000" flipH="1">
              <a:off x="2920764" y="4081382"/>
              <a:ext cx="206215" cy="30956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nector: Elbow 56">
              <a:extLst>
                <a:ext uri="{FF2B5EF4-FFF2-40B4-BE49-F238E27FC236}">
                  <a16:creationId xmlns:a16="http://schemas.microsoft.com/office/drawing/2014/main" id="{C5D050E4-4ECB-4432-834F-D762571E76D6}"/>
                </a:ext>
              </a:extLst>
            </p:cNvPr>
            <p:cNvCxnSpPr>
              <a:cxnSpLocks/>
              <a:stCxn id="59" idx="4"/>
              <a:endCxn id="61" idx="0"/>
            </p:cNvCxnSpPr>
            <p:nvPr/>
          </p:nvCxnSpPr>
          <p:spPr>
            <a:xfrm rot="5400000">
              <a:off x="2607630" y="4077811"/>
              <a:ext cx="206215" cy="3167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Flowchart: Decision 64">
            <a:extLst>
              <a:ext uri="{FF2B5EF4-FFF2-40B4-BE49-F238E27FC236}">
                <a16:creationId xmlns:a16="http://schemas.microsoft.com/office/drawing/2014/main" id="{F8B5EEC1-8FE9-49DB-964F-156B7D37A11A}"/>
              </a:ext>
            </a:extLst>
          </p:cNvPr>
          <p:cNvSpPr/>
          <p:nvPr/>
        </p:nvSpPr>
        <p:spPr>
          <a:xfrm>
            <a:off x="2508674" y="5152659"/>
            <a:ext cx="3249696" cy="1024938"/>
          </a:xfrm>
          <a:prstGeom prst="flowChartDecision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on of the Ensemble</a:t>
            </a:r>
          </a:p>
        </p:txBody>
      </p: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D40F3307-C45A-4FF8-BB12-01619727B8FE}"/>
              </a:ext>
            </a:extLst>
          </p:cNvPr>
          <p:cNvCxnSpPr>
            <a:cxnSpLocks/>
            <a:stCxn id="67" idx="2"/>
            <a:endCxn id="87" idx="0"/>
          </p:cNvCxnSpPr>
          <p:nvPr/>
        </p:nvCxnSpPr>
        <p:spPr>
          <a:xfrm rot="16200000" flipH="1">
            <a:off x="2522290" y="2904682"/>
            <a:ext cx="704392" cy="251807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6231A2E4-A155-4631-B4C0-D7DC577ABB09}"/>
              </a:ext>
            </a:extLst>
          </p:cNvPr>
          <p:cNvSpPr/>
          <p:nvPr/>
        </p:nvSpPr>
        <p:spPr>
          <a:xfrm>
            <a:off x="1511648" y="3617529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FF64C24-EC36-400C-9014-198836961D34}"/>
              </a:ext>
            </a:extLst>
          </p:cNvPr>
          <p:cNvSpPr/>
          <p:nvPr/>
        </p:nvSpPr>
        <p:spPr>
          <a:xfrm>
            <a:off x="4039147" y="3617529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7C61CC4-30D5-4B9F-AFA5-4AED67B00D08}"/>
              </a:ext>
            </a:extLst>
          </p:cNvPr>
          <p:cNvSpPr/>
          <p:nvPr/>
        </p:nvSpPr>
        <p:spPr>
          <a:xfrm>
            <a:off x="6426348" y="3617529"/>
            <a:ext cx="207605" cy="19399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0" name="Connector: Elbow 69">
            <a:extLst>
              <a:ext uri="{FF2B5EF4-FFF2-40B4-BE49-F238E27FC236}">
                <a16:creationId xmlns:a16="http://schemas.microsoft.com/office/drawing/2014/main" id="{2308B515-1EF3-42D7-BDBD-F341568A3C54}"/>
              </a:ext>
            </a:extLst>
          </p:cNvPr>
          <p:cNvCxnSpPr>
            <a:cxnSpLocks/>
            <a:stCxn id="68" idx="2"/>
            <a:endCxn id="87" idx="0"/>
          </p:cNvCxnSpPr>
          <p:nvPr/>
        </p:nvCxnSpPr>
        <p:spPr>
          <a:xfrm rot="5400000">
            <a:off x="3786040" y="4159004"/>
            <a:ext cx="704392" cy="942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nector: Elbow 70">
            <a:extLst>
              <a:ext uri="{FF2B5EF4-FFF2-40B4-BE49-F238E27FC236}">
                <a16:creationId xmlns:a16="http://schemas.microsoft.com/office/drawing/2014/main" id="{ADB42632-4DD6-46E7-A429-2E6974F2551F}"/>
              </a:ext>
            </a:extLst>
          </p:cNvPr>
          <p:cNvCxnSpPr>
            <a:cxnSpLocks/>
            <a:stCxn id="69" idx="2"/>
            <a:endCxn id="87" idx="0"/>
          </p:cNvCxnSpPr>
          <p:nvPr/>
        </p:nvCxnSpPr>
        <p:spPr>
          <a:xfrm rot="5400000">
            <a:off x="4979641" y="2965404"/>
            <a:ext cx="704392" cy="239662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B686E89E-11CB-49B8-A085-7F1609CF9EA5}"/>
              </a:ext>
            </a:extLst>
          </p:cNvPr>
          <p:cNvSpPr txBox="1"/>
          <p:nvPr/>
        </p:nvSpPr>
        <p:spPr>
          <a:xfrm>
            <a:off x="1078769" y="3866335"/>
            <a:ext cx="1082027" cy="246221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on 1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5040E57-2820-48A6-BF36-0729FE0DF45D}"/>
              </a:ext>
            </a:extLst>
          </p:cNvPr>
          <p:cNvSpPr txBox="1"/>
          <p:nvPr/>
        </p:nvSpPr>
        <p:spPr>
          <a:xfrm>
            <a:off x="3592509" y="3866335"/>
            <a:ext cx="1082027" cy="246221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on 2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9106F4B3-CE55-4822-A41F-20BFA627929E}"/>
              </a:ext>
            </a:extLst>
          </p:cNvPr>
          <p:cNvSpPr txBox="1"/>
          <p:nvPr/>
        </p:nvSpPr>
        <p:spPr>
          <a:xfrm>
            <a:off x="5942502" y="3866335"/>
            <a:ext cx="1082027" cy="246221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diction 3</a:t>
            </a: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60239983-1DD1-4FB9-8026-C6540D57329A}"/>
              </a:ext>
            </a:extLst>
          </p:cNvPr>
          <p:cNvSpPr/>
          <p:nvPr/>
        </p:nvSpPr>
        <p:spPr>
          <a:xfrm>
            <a:off x="3697779" y="4515914"/>
            <a:ext cx="871486" cy="393446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te</a:t>
            </a:r>
          </a:p>
        </p:txBody>
      </p:sp>
      <p:cxnSp>
        <p:nvCxnSpPr>
          <p:cNvPr id="94" name="Connector: Elbow 93">
            <a:extLst>
              <a:ext uri="{FF2B5EF4-FFF2-40B4-BE49-F238E27FC236}">
                <a16:creationId xmlns:a16="http://schemas.microsoft.com/office/drawing/2014/main" id="{1178A9F7-B887-4BEB-976B-66A6DA8D3ABD}"/>
              </a:ext>
            </a:extLst>
          </p:cNvPr>
          <p:cNvCxnSpPr>
            <a:cxnSpLocks/>
            <a:stCxn id="87" idx="4"/>
            <a:endCxn id="65" idx="0"/>
          </p:cNvCxnSpPr>
          <p:nvPr/>
        </p:nvCxnSpPr>
        <p:spPr>
          <a:xfrm>
            <a:off x="4133522" y="4909360"/>
            <a:ext cx="0" cy="243299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98">
            <a:extLst>
              <a:ext uri="{FF2B5EF4-FFF2-40B4-BE49-F238E27FC236}">
                <a16:creationId xmlns:a16="http://schemas.microsoft.com/office/drawing/2014/main" id="{88287485-D7B0-42E5-8ADE-DCBBD69AD2C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492056" y="1146492"/>
            <a:ext cx="3028232" cy="71481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new data point (future data)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ke a new Titanic passenger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56C750AD-A37D-4299-936B-81CB9A871E6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492056" y="2374378"/>
            <a:ext cx="3028232" cy="102258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bine a bunch of independent models together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n be any type of algorithms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9247478-9B58-4F85-8C9A-4BA9A06DDE4B}"/>
              </a:ext>
            </a:extLst>
          </p:cNvPr>
          <p:cNvSpPr txBox="1"/>
          <p:nvPr/>
        </p:nvSpPr>
        <p:spPr>
          <a:xfrm>
            <a:off x="8492056" y="4360515"/>
            <a:ext cx="3028232" cy="71481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bg1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>
                  <a:lumMod val="60000"/>
                  <a:lumOff val="40000"/>
                </a:schemeClr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te for classifiers</a:t>
            </a:r>
          </a:p>
          <a:p>
            <a:pPr marL="168275" marR="0" lvl="2" indent="-168275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erage for regression</a:t>
            </a:r>
          </a:p>
        </p:txBody>
      </p: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E0937DB3-DF7A-41F8-90F3-6564CA2F00FE}"/>
              </a:ext>
            </a:extLst>
          </p:cNvPr>
          <p:cNvCxnSpPr>
            <a:cxnSpLocks/>
          </p:cNvCxnSpPr>
          <p:nvPr/>
        </p:nvCxnSpPr>
        <p:spPr>
          <a:xfrm flipH="1" flipV="1">
            <a:off x="4765784" y="1545529"/>
            <a:ext cx="3726272" cy="1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F6FAE684-1DBB-42F0-9ED9-38933239E95A}"/>
              </a:ext>
            </a:extLst>
          </p:cNvPr>
          <p:cNvCxnSpPr>
            <a:cxnSpLocks/>
          </p:cNvCxnSpPr>
          <p:nvPr/>
        </p:nvCxnSpPr>
        <p:spPr>
          <a:xfrm flipH="1" flipV="1">
            <a:off x="6718300" y="2885672"/>
            <a:ext cx="1773756" cy="1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Arrow Connector 105">
            <a:extLst>
              <a:ext uri="{FF2B5EF4-FFF2-40B4-BE49-F238E27FC236}">
                <a16:creationId xmlns:a16="http://schemas.microsoft.com/office/drawing/2014/main" id="{F09CA42F-A0F3-4AE4-B9EC-7EBA98370544}"/>
              </a:ext>
            </a:extLst>
          </p:cNvPr>
          <p:cNvCxnSpPr>
            <a:cxnSpLocks/>
          </p:cNvCxnSpPr>
          <p:nvPr/>
        </p:nvCxnSpPr>
        <p:spPr>
          <a:xfrm flipH="1" flipV="1">
            <a:off x="4648200" y="4715157"/>
            <a:ext cx="3843856" cy="1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ounded Rectangle 72">
            <a:extLst>
              <a:ext uri="{FF2B5EF4-FFF2-40B4-BE49-F238E27FC236}">
                <a16:creationId xmlns:a16="http://schemas.microsoft.com/office/drawing/2014/main" id="{73046571-469E-B94F-AA01-A7E5E0EF714E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2788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4BD47D18-4C9D-4109-AD6A-F647F5E55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3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4BD47D18-4C9D-4109-AD6A-F647F5E55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8F489CBA-FBC5-41A0-896C-656B50B5C87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56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C7FD74-4EEA-724B-888F-CFFF40D1FC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156" dirty="0"/>
              <a:t>Bagging vs. Boosting</a:t>
            </a:r>
          </a:p>
        </p:txBody>
      </p:sp>
      <p:grpSp>
        <p:nvGrpSpPr>
          <p:cNvPr id="328" name="Group 327">
            <a:extLst>
              <a:ext uri="{FF2B5EF4-FFF2-40B4-BE49-F238E27FC236}">
                <a16:creationId xmlns:a16="http://schemas.microsoft.com/office/drawing/2014/main" id="{91C72050-19F3-468F-8B98-3E5198222E89}"/>
              </a:ext>
            </a:extLst>
          </p:cNvPr>
          <p:cNvGrpSpPr/>
          <p:nvPr/>
        </p:nvGrpSpPr>
        <p:grpSpPr>
          <a:xfrm>
            <a:off x="475488" y="979313"/>
            <a:ext cx="11044800" cy="5218287"/>
            <a:chOff x="475488" y="1131713"/>
            <a:chExt cx="11044800" cy="5218287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73CC776-481C-417E-B7F0-7B5B38C50193}"/>
                </a:ext>
              </a:extLst>
            </p:cNvPr>
            <p:cNvSpPr/>
            <p:nvPr/>
          </p:nvSpPr>
          <p:spPr>
            <a:xfrm>
              <a:off x="475488" y="1574800"/>
              <a:ext cx="3557912" cy="47752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2FBCB38-B427-4497-8F25-430B94A016BC}"/>
                </a:ext>
              </a:extLst>
            </p:cNvPr>
            <p:cNvSpPr/>
            <p:nvPr/>
          </p:nvSpPr>
          <p:spPr>
            <a:xfrm>
              <a:off x="4218932" y="1574800"/>
              <a:ext cx="3557912" cy="477520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D3ED52F-66C9-40BD-A97B-315005D8F0FE}"/>
                </a:ext>
              </a:extLst>
            </p:cNvPr>
            <p:cNvSpPr/>
            <p:nvPr/>
          </p:nvSpPr>
          <p:spPr>
            <a:xfrm>
              <a:off x="7962376" y="1574800"/>
              <a:ext cx="3557912" cy="4775200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F849A4B-D909-46BB-9670-078C57EAE58A}"/>
                </a:ext>
              </a:extLst>
            </p:cNvPr>
            <p:cNvSpPr txBox="1"/>
            <p:nvPr/>
          </p:nvSpPr>
          <p:spPr>
            <a:xfrm>
              <a:off x="1793581" y="1131713"/>
              <a:ext cx="921727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ngle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0CB008F-D857-4150-AA6C-20BB5FDC03E9}"/>
                </a:ext>
              </a:extLst>
            </p:cNvPr>
            <p:cNvSpPr txBox="1"/>
            <p:nvPr/>
          </p:nvSpPr>
          <p:spPr>
            <a:xfrm>
              <a:off x="5383136" y="1131713"/>
              <a:ext cx="1229504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agging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9662CDD-B097-4D9F-9611-35E26603E1A7}"/>
                </a:ext>
              </a:extLst>
            </p:cNvPr>
            <p:cNvSpPr txBox="1"/>
            <p:nvPr/>
          </p:nvSpPr>
          <p:spPr>
            <a:xfrm>
              <a:off x="9075284" y="1131713"/>
              <a:ext cx="1332096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37DEE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oosting</a:t>
              </a:r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57E5FF16-09ED-4083-B9DD-29162EE39C5C}"/>
                </a:ext>
              </a:extLst>
            </p:cNvPr>
            <p:cNvGrpSpPr/>
            <p:nvPr/>
          </p:nvGrpSpPr>
          <p:grpSpPr>
            <a:xfrm>
              <a:off x="627255" y="3121024"/>
              <a:ext cx="3250119" cy="1393826"/>
              <a:chOff x="627255" y="3121024"/>
              <a:chExt cx="3250119" cy="1393826"/>
            </a:xfrm>
          </p:grpSpPr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2D69C3E0-DF64-4420-843D-A1B2CF4E7CB6}"/>
                  </a:ext>
                </a:extLst>
              </p:cNvPr>
              <p:cNvGrpSpPr/>
              <p:nvPr/>
            </p:nvGrpSpPr>
            <p:grpSpPr>
              <a:xfrm>
                <a:off x="627255" y="3121024"/>
                <a:ext cx="1393826" cy="1393826"/>
                <a:chOff x="627255" y="3121024"/>
                <a:chExt cx="1393826" cy="1393826"/>
              </a:xfrm>
            </p:grpSpPr>
            <p:sp>
              <p:nvSpPr>
                <p:cNvPr id="3" name="Oval 2">
                  <a:extLst>
                    <a:ext uri="{FF2B5EF4-FFF2-40B4-BE49-F238E27FC236}">
                      <a16:creationId xmlns:a16="http://schemas.microsoft.com/office/drawing/2014/main" id="{61D139EC-B1F8-492F-A764-9D9ECF4EBBC5}"/>
                    </a:ext>
                  </a:extLst>
                </p:cNvPr>
                <p:cNvSpPr/>
                <p:nvPr/>
              </p:nvSpPr>
              <p:spPr>
                <a:xfrm>
                  <a:off x="627255" y="3121024"/>
                  <a:ext cx="1393826" cy="1393826"/>
                </a:xfrm>
                <a:prstGeom prst="ellipse">
                  <a:avLst/>
                </a:prstGeom>
                <a:noFill/>
                <a:ln w="1905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Oval 16">
                  <a:extLst>
                    <a:ext uri="{FF2B5EF4-FFF2-40B4-BE49-F238E27FC236}">
                      <a16:creationId xmlns:a16="http://schemas.microsoft.com/office/drawing/2014/main" id="{1DA664B3-02BF-424D-A2EF-D4CB396D657B}"/>
                    </a:ext>
                  </a:extLst>
                </p:cNvPr>
                <p:cNvSpPr/>
                <p:nvPr/>
              </p:nvSpPr>
              <p:spPr>
                <a:xfrm>
                  <a:off x="1188950" y="3524448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Oval 17">
                  <a:extLst>
                    <a:ext uri="{FF2B5EF4-FFF2-40B4-BE49-F238E27FC236}">
                      <a16:creationId xmlns:a16="http://schemas.microsoft.com/office/drawing/2014/main" id="{A35BD30E-5199-4543-A4A8-662C39658754}"/>
                    </a:ext>
                  </a:extLst>
                </p:cNvPr>
                <p:cNvSpPr/>
                <p:nvPr/>
              </p:nvSpPr>
              <p:spPr>
                <a:xfrm>
                  <a:off x="844395" y="3395380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Oval 18">
                  <a:extLst>
                    <a:ext uri="{FF2B5EF4-FFF2-40B4-BE49-F238E27FC236}">
                      <a16:creationId xmlns:a16="http://schemas.microsoft.com/office/drawing/2014/main" id="{FAB5FB9A-AA61-47AC-9845-0EA51B789BA2}"/>
                    </a:ext>
                  </a:extLst>
                </p:cNvPr>
                <p:cNvSpPr/>
                <p:nvPr/>
              </p:nvSpPr>
              <p:spPr>
                <a:xfrm>
                  <a:off x="807883" y="3592830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Oval 19">
                  <a:extLst>
                    <a:ext uri="{FF2B5EF4-FFF2-40B4-BE49-F238E27FC236}">
                      <a16:creationId xmlns:a16="http://schemas.microsoft.com/office/drawing/2014/main" id="{53CFABDE-53CC-4320-ADFD-936C1371A012}"/>
                    </a:ext>
                  </a:extLst>
                </p:cNvPr>
                <p:cNvSpPr/>
                <p:nvPr/>
              </p:nvSpPr>
              <p:spPr>
                <a:xfrm>
                  <a:off x="699933" y="3756686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4A476564-05F0-4A42-A895-D4C67A48C1C1}"/>
                    </a:ext>
                  </a:extLst>
                </p:cNvPr>
                <p:cNvSpPr/>
                <p:nvPr/>
              </p:nvSpPr>
              <p:spPr>
                <a:xfrm>
                  <a:off x="763433" y="3968215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2F882B22-0E72-4216-8D64-670A2C1765F3}"/>
                    </a:ext>
                  </a:extLst>
                </p:cNvPr>
                <p:cNvSpPr/>
                <p:nvPr/>
              </p:nvSpPr>
              <p:spPr>
                <a:xfrm>
                  <a:off x="926647" y="3801136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Oval 22">
                  <a:extLst>
                    <a:ext uri="{FF2B5EF4-FFF2-40B4-BE49-F238E27FC236}">
                      <a16:creationId xmlns:a16="http://schemas.microsoft.com/office/drawing/2014/main" id="{1798580C-C07E-49AA-BA2C-915E39F3FA33}"/>
                    </a:ext>
                  </a:extLst>
                </p:cNvPr>
                <p:cNvSpPr/>
                <p:nvPr/>
              </p:nvSpPr>
              <p:spPr>
                <a:xfrm>
                  <a:off x="1046995" y="3524448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Oval 23">
                  <a:extLst>
                    <a:ext uri="{FF2B5EF4-FFF2-40B4-BE49-F238E27FC236}">
                      <a16:creationId xmlns:a16="http://schemas.microsoft.com/office/drawing/2014/main" id="{721B456A-F25C-44F7-8608-B2383E411023}"/>
                    </a:ext>
                  </a:extLst>
                </p:cNvPr>
                <p:cNvSpPr/>
                <p:nvPr/>
              </p:nvSpPr>
              <p:spPr>
                <a:xfrm>
                  <a:off x="1117636" y="3325013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Oval 24">
                  <a:extLst>
                    <a:ext uri="{FF2B5EF4-FFF2-40B4-BE49-F238E27FC236}">
                      <a16:creationId xmlns:a16="http://schemas.microsoft.com/office/drawing/2014/main" id="{11A08B23-275F-414A-8617-4FB32835AB65}"/>
                    </a:ext>
                  </a:extLst>
                </p:cNvPr>
                <p:cNvSpPr/>
                <p:nvPr/>
              </p:nvSpPr>
              <p:spPr>
                <a:xfrm>
                  <a:off x="1315044" y="3253338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Oval 25">
                  <a:extLst>
                    <a:ext uri="{FF2B5EF4-FFF2-40B4-BE49-F238E27FC236}">
                      <a16:creationId xmlns:a16="http://schemas.microsoft.com/office/drawing/2014/main" id="{D33CDE5F-5219-44AE-B8D7-8A31659129A9}"/>
                    </a:ext>
                  </a:extLst>
                </p:cNvPr>
                <p:cNvSpPr/>
                <p:nvPr/>
              </p:nvSpPr>
              <p:spPr>
                <a:xfrm>
                  <a:off x="1344840" y="3609113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Oval 26">
                  <a:extLst>
                    <a:ext uri="{FF2B5EF4-FFF2-40B4-BE49-F238E27FC236}">
                      <a16:creationId xmlns:a16="http://schemas.microsoft.com/office/drawing/2014/main" id="{771EF2E5-C13E-4B73-A11E-C5D1FD49801C}"/>
                    </a:ext>
                  </a:extLst>
                </p:cNvPr>
                <p:cNvSpPr/>
                <p:nvPr/>
              </p:nvSpPr>
              <p:spPr>
                <a:xfrm>
                  <a:off x="1479777" y="3430822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Oval 27">
                  <a:extLst>
                    <a:ext uri="{FF2B5EF4-FFF2-40B4-BE49-F238E27FC236}">
                      <a16:creationId xmlns:a16="http://schemas.microsoft.com/office/drawing/2014/main" id="{55F6BBDC-3EFC-41B4-98BE-7A80E551F497}"/>
                    </a:ext>
                  </a:extLst>
                </p:cNvPr>
                <p:cNvSpPr/>
                <p:nvPr/>
              </p:nvSpPr>
              <p:spPr>
                <a:xfrm>
                  <a:off x="1161895" y="3739884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Oval 28">
                  <a:extLst>
                    <a:ext uri="{FF2B5EF4-FFF2-40B4-BE49-F238E27FC236}">
                      <a16:creationId xmlns:a16="http://schemas.microsoft.com/office/drawing/2014/main" id="{8BECEBCC-4EA2-46E4-9721-9F9E3C49C284}"/>
                    </a:ext>
                  </a:extLst>
                </p:cNvPr>
                <p:cNvSpPr/>
                <p:nvPr/>
              </p:nvSpPr>
              <p:spPr>
                <a:xfrm>
                  <a:off x="1716721" y="3777451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Oval 29">
                  <a:extLst>
                    <a:ext uri="{FF2B5EF4-FFF2-40B4-BE49-F238E27FC236}">
                      <a16:creationId xmlns:a16="http://schemas.microsoft.com/office/drawing/2014/main" id="{80B196DD-9C07-4D14-AE6C-4252978311CB}"/>
                    </a:ext>
                  </a:extLst>
                </p:cNvPr>
                <p:cNvSpPr/>
                <p:nvPr/>
              </p:nvSpPr>
              <p:spPr>
                <a:xfrm>
                  <a:off x="1716721" y="3966627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Oval 30">
                  <a:extLst>
                    <a:ext uri="{FF2B5EF4-FFF2-40B4-BE49-F238E27FC236}">
                      <a16:creationId xmlns:a16="http://schemas.microsoft.com/office/drawing/2014/main" id="{C286F730-30B6-47AC-BBD9-4DBA50614F1D}"/>
                    </a:ext>
                  </a:extLst>
                </p:cNvPr>
                <p:cNvSpPr/>
                <p:nvPr/>
              </p:nvSpPr>
              <p:spPr>
                <a:xfrm>
                  <a:off x="1339695" y="3966627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Oval 31">
                  <a:extLst>
                    <a:ext uri="{FF2B5EF4-FFF2-40B4-BE49-F238E27FC236}">
                      <a16:creationId xmlns:a16="http://schemas.microsoft.com/office/drawing/2014/main" id="{0FA9782C-97B7-4E78-B5BB-8B1C47BCBEC7}"/>
                    </a:ext>
                  </a:extLst>
                </p:cNvPr>
                <p:cNvSpPr/>
                <p:nvPr/>
              </p:nvSpPr>
              <p:spPr>
                <a:xfrm>
                  <a:off x="1605732" y="4092404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Oval 32">
                  <a:extLst>
                    <a:ext uri="{FF2B5EF4-FFF2-40B4-BE49-F238E27FC236}">
                      <a16:creationId xmlns:a16="http://schemas.microsoft.com/office/drawing/2014/main" id="{4E40F254-52AA-4126-A34B-26B9B802EAD4}"/>
                    </a:ext>
                  </a:extLst>
                </p:cNvPr>
                <p:cNvSpPr/>
                <p:nvPr/>
              </p:nvSpPr>
              <p:spPr>
                <a:xfrm>
                  <a:off x="1112273" y="3931299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Oval 33">
                  <a:extLst>
                    <a:ext uri="{FF2B5EF4-FFF2-40B4-BE49-F238E27FC236}">
                      <a16:creationId xmlns:a16="http://schemas.microsoft.com/office/drawing/2014/main" id="{ABABA965-E158-4606-80D4-26FD4B4B3EC3}"/>
                    </a:ext>
                  </a:extLst>
                </p:cNvPr>
                <p:cNvSpPr/>
                <p:nvPr/>
              </p:nvSpPr>
              <p:spPr>
                <a:xfrm>
                  <a:off x="1188950" y="4110305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Oval 34">
                  <a:extLst>
                    <a:ext uri="{FF2B5EF4-FFF2-40B4-BE49-F238E27FC236}">
                      <a16:creationId xmlns:a16="http://schemas.microsoft.com/office/drawing/2014/main" id="{E4F967D2-0541-430E-990D-A499733CA947}"/>
                    </a:ext>
                  </a:extLst>
                </p:cNvPr>
                <p:cNvSpPr/>
                <p:nvPr/>
              </p:nvSpPr>
              <p:spPr>
                <a:xfrm>
                  <a:off x="988856" y="4136854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Oval 35">
                  <a:extLst>
                    <a:ext uri="{FF2B5EF4-FFF2-40B4-BE49-F238E27FC236}">
                      <a16:creationId xmlns:a16="http://schemas.microsoft.com/office/drawing/2014/main" id="{B0573A86-0996-4BBD-8147-5361D6C3AD75}"/>
                    </a:ext>
                  </a:extLst>
                </p:cNvPr>
                <p:cNvSpPr/>
                <p:nvPr/>
              </p:nvSpPr>
              <p:spPr>
                <a:xfrm>
                  <a:off x="1468284" y="4212915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Oval 36">
                  <a:extLst>
                    <a:ext uri="{FF2B5EF4-FFF2-40B4-BE49-F238E27FC236}">
                      <a16:creationId xmlns:a16="http://schemas.microsoft.com/office/drawing/2014/main" id="{A311FF2A-58A4-4CE8-A39D-3E6D3F72A61A}"/>
                    </a:ext>
                  </a:extLst>
                </p:cNvPr>
                <p:cNvSpPr/>
                <p:nvPr/>
              </p:nvSpPr>
              <p:spPr>
                <a:xfrm>
                  <a:off x="1288993" y="4293637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Oval 37">
                  <a:extLst>
                    <a:ext uri="{FF2B5EF4-FFF2-40B4-BE49-F238E27FC236}">
                      <a16:creationId xmlns:a16="http://schemas.microsoft.com/office/drawing/2014/main" id="{3BE8B1EE-FF55-4EB8-89BB-5F157A0D7352}"/>
                    </a:ext>
                  </a:extLst>
                </p:cNvPr>
                <p:cNvSpPr/>
                <p:nvPr/>
              </p:nvSpPr>
              <p:spPr>
                <a:xfrm>
                  <a:off x="1770604" y="3434160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Oval 38">
                  <a:extLst>
                    <a:ext uri="{FF2B5EF4-FFF2-40B4-BE49-F238E27FC236}">
                      <a16:creationId xmlns:a16="http://schemas.microsoft.com/office/drawing/2014/main" id="{2CACAAED-1C3B-40FF-9DF3-C27AD210F0EF}"/>
                    </a:ext>
                  </a:extLst>
                </p:cNvPr>
                <p:cNvSpPr/>
                <p:nvPr/>
              </p:nvSpPr>
              <p:spPr>
                <a:xfrm>
                  <a:off x="1568295" y="3623336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Oval 39">
                  <a:extLst>
                    <a:ext uri="{FF2B5EF4-FFF2-40B4-BE49-F238E27FC236}">
                      <a16:creationId xmlns:a16="http://schemas.microsoft.com/office/drawing/2014/main" id="{73212107-B214-4D9C-B2BF-189B117D02AC}"/>
                    </a:ext>
                  </a:extLst>
                </p:cNvPr>
                <p:cNvSpPr/>
                <p:nvPr/>
              </p:nvSpPr>
              <p:spPr>
                <a:xfrm>
                  <a:off x="1497169" y="3817298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Oval 40">
                  <a:extLst>
                    <a:ext uri="{FF2B5EF4-FFF2-40B4-BE49-F238E27FC236}">
                      <a16:creationId xmlns:a16="http://schemas.microsoft.com/office/drawing/2014/main" id="{7B6E980A-51FD-4300-BF61-C4B2B7814AF3}"/>
                    </a:ext>
                  </a:extLst>
                </p:cNvPr>
                <p:cNvSpPr/>
                <p:nvPr/>
              </p:nvSpPr>
              <p:spPr>
                <a:xfrm>
                  <a:off x="1859504" y="3656737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Oval 41">
                  <a:extLst>
                    <a:ext uri="{FF2B5EF4-FFF2-40B4-BE49-F238E27FC236}">
                      <a16:creationId xmlns:a16="http://schemas.microsoft.com/office/drawing/2014/main" id="{E7F427E4-04E1-4CBA-B442-A1A02CA8DA4C}"/>
                    </a:ext>
                  </a:extLst>
                </p:cNvPr>
                <p:cNvSpPr/>
                <p:nvPr/>
              </p:nvSpPr>
              <p:spPr>
                <a:xfrm>
                  <a:off x="1555711" y="3275826"/>
                  <a:ext cx="88900" cy="88900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36319DFF-F8A3-4A4D-A3B5-22D4D1D6DD1E}"/>
                  </a:ext>
                </a:extLst>
              </p:cNvPr>
              <p:cNvGrpSpPr/>
              <p:nvPr/>
            </p:nvGrpSpPr>
            <p:grpSpPr>
              <a:xfrm>
                <a:off x="2922134" y="3340317"/>
                <a:ext cx="955240" cy="955240"/>
                <a:chOff x="2504473" y="3067760"/>
                <a:chExt cx="1081690" cy="1081690"/>
              </a:xfrm>
            </p:grpSpPr>
            <p:grpSp>
              <p:nvGrpSpPr>
                <p:cNvPr id="61" name="Group 60">
                  <a:extLst>
                    <a:ext uri="{FF2B5EF4-FFF2-40B4-BE49-F238E27FC236}">
                      <a16:creationId xmlns:a16="http://schemas.microsoft.com/office/drawing/2014/main" id="{962FBA91-AC2D-44FF-8442-3440CDCB838B}"/>
                    </a:ext>
                  </a:extLst>
                </p:cNvPr>
                <p:cNvGrpSpPr/>
                <p:nvPr/>
              </p:nvGrpSpPr>
              <p:grpSpPr>
                <a:xfrm>
                  <a:off x="2807086" y="3164143"/>
                  <a:ext cx="476464" cy="888924"/>
                  <a:chOff x="2689246" y="2890507"/>
                  <a:chExt cx="800100" cy="1492719"/>
                </a:xfrm>
              </p:grpSpPr>
              <p:sp>
                <p:nvSpPr>
                  <p:cNvPr id="44" name="Diamond 43">
                    <a:extLst>
                      <a:ext uri="{FF2B5EF4-FFF2-40B4-BE49-F238E27FC236}">
                        <a16:creationId xmlns:a16="http://schemas.microsoft.com/office/drawing/2014/main" id="{9940AAB2-8906-488C-957B-FA61199CB323}"/>
                      </a:ext>
                    </a:extLst>
                  </p:cNvPr>
                  <p:cNvSpPr/>
                  <p:nvPr/>
                </p:nvSpPr>
                <p:spPr>
                  <a:xfrm>
                    <a:off x="2689246" y="3083047"/>
                    <a:ext cx="800100" cy="457200"/>
                  </a:xfrm>
                  <a:prstGeom prst="diamond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accent2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5" name="Rectangle 44">
                    <a:extLst>
                      <a:ext uri="{FF2B5EF4-FFF2-40B4-BE49-F238E27FC236}">
                        <a16:creationId xmlns:a16="http://schemas.microsoft.com/office/drawing/2014/main" id="{A7C0298C-C550-413A-A4C3-44DE7803A97F}"/>
                      </a:ext>
                    </a:extLst>
                  </p:cNvPr>
                  <p:cNvSpPr/>
                  <p:nvPr/>
                </p:nvSpPr>
                <p:spPr>
                  <a:xfrm>
                    <a:off x="2689246" y="3667786"/>
                    <a:ext cx="800100" cy="348747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accent2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6" name="Rectangle 45">
                    <a:extLst>
                      <a:ext uri="{FF2B5EF4-FFF2-40B4-BE49-F238E27FC236}">
                        <a16:creationId xmlns:a16="http://schemas.microsoft.com/office/drawing/2014/main" id="{7760404D-BB32-46CB-9ACC-47A38591155B}"/>
                      </a:ext>
                    </a:extLst>
                  </p:cNvPr>
                  <p:cNvSpPr/>
                  <p:nvPr/>
                </p:nvSpPr>
                <p:spPr>
                  <a:xfrm>
                    <a:off x="3043269" y="2890507"/>
                    <a:ext cx="92054" cy="65001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48" name="Straight Connector 47">
                    <a:extLst>
                      <a:ext uri="{FF2B5EF4-FFF2-40B4-BE49-F238E27FC236}">
                        <a16:creationId xmlns:a16="http://schemas.microsoft.com/office/drawing/2014/main" id="{486119F4-E7AC-4CA0-88EF-444F95C3E118}"/>
                      </a:ext>
                    </a:extLst>
                  </p:cNvPr>
                  <p:cNvCxnSpPr>
                    <a:cxnSpLocks/>
                    <a:stCxn id="46" idx="2"/>
                    <a:endCxn id="44" idx="0"/>
                  </p:cNvCxnSpPr>
                  <p:nvPr/>
                </p:nvCxnSpPr>
                <p:spPr>
                  <a:xfrm>
                    <a:off x="3089296" y="2955508"/>
                    <a:ext cx="0" cy="127539"/>
                  </a:xfrm>
                  <a:prstGeom prst="line">
                    <a:avLst/>
                  </a:prstGeom>
                  <a:ln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1" name="Straight Connector 50">
                    <a:extLst>
                      <a:ext uri="{FF2B5EF4-FFF2-40B4-BE49-F238E27FC236}">
                        <a16:creationId xmlns:a16="http://schemas.microsoft.com/office/drawing/2014/main" id="{A581527C-DFB0-4E57-B78E-32DEF6E6B866}"/>
                      </a:ext>
                    </a:extLst>
                  </p:cNvPr>
                  <p:cNvCxnSpPr>
                    <a:cxnSpLocks/>
                    <a:stCxn id="44" idx="1"/>
                    <a:endCxn id="45" idx="1"/>
                  </p:cNvCxnSpPr>
                  <p:nvPr/>
                </p:nvCxnSpPr>
                <p:spPr>
                  <a:xfrm rot="10800000" flipV="1">
                    <a:off x="2689246" y="3311646"/>
                    <a:ext cx="12700" cy="530513"/>
                  </a:xfrm>
                  <a:prstGeom prst="bentConnector3">
                    <a:avLst>
                      <a:gd name="adj1" fmla="val 1800000"/>
                    </a:avLst>
                  </a:prstGeom>
                  <a:ln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4" name="Straight Connector 50">
                    <a:extLst>
                      <a:ext uri="{FF2B5EF4-FFF2-40B4-BE49-F238E27FC236}">
                        <a16:creationId xmlns:a16="http://schemas.microsoft.com/office/drawing/2014/main" id="{BFB622AC-6374-440A-BC13-EE6302E25F63}"/>
                      </a:ext>
                    </a:extLst>
                  </p:cNvPr>
                  <p:cNvCxnSpPr>
                    <a:cxnSpLocks/>
                    <a:stCxn id="44" idx="3"/>
                    <a:endCxn id="56" idx="0"/>
                  </p:cNvCxnSpPr>
                  <p:nvPr/>
                </p:nvCxnSpPr>
                <p:spPr>
                  <a:xfrm flipH="1">
                    <a:off x="3089298" y="3311648"/>
                    <a:ext cx="400048" cy="1006577"/>
                  </a:xfrm>
                  <a:prstGeom prst="bentConnector4">
                    <a:avLst>
                      <a:gd name="adj1" fmla="val -42647"/>
                      <a:gd name="adj2" fmla="val 77775"/>
                    </a:avLst>
                  </a:prstGeom>
                  <a:ln>
                    <a:solidFill>
                      <a:schemeClr val="accent2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56" name="Rectangle 55">
                    <a:extLst>
                      <a:ext uri="{FF2B5EF4-FFF2-40B4-BE49-F238E27FC236}">
                        <a16:creationId xmlns:a16="http://schemas.microsoft.com/office/drawing/2014/main" id="{22843032-355E-4467-A43F-5F974B4547A6}"/>
                      </a:ext>
                    </a:extLst>
                  </p:cNvPr>
                  <p:cNvSpPr/>
                  <p:nvPr/>
                </p:nvSpPr>
                <p:spPr>
                  <a:xfrm>
                    <a:off x="3043270" y="4318224"/>
                    <a:ext cx="92055" cy="65002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65" name="Oval 64">
                  <a:extLst>
                    <a:ext uri="{FF2B5EF4-FFF2-40B4-BE49-F238E27FC236}">
                      <a16:creationId xmlns:a16="http://schemas.microsoft.com/office/drawing/2014/main" id="{0FCE6F13-2B9C-448D-86BB-B79947F3E1D9}"/>
                    </a:ext>
                  </a:extLst>
                </p:cNvPr>
                <p:cNvSpPr/>
                <p:nvPr/>
              </p:nvSpPr>
              <p:spPr>
                <a:xfrm>
                  <a:off x="2504473" y="3067760"/>
                  <a:ext cx="1081690" cy="1081690"/>
                </a:xfrm>
                <a:prstGeom prst="ellipse">
                  <a:avLst/>
                </a:prstGeom>
                <a:noFill/>
                <a:ln w="1905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69" name="Straight Arrow Connector 68">
                <a:extLst>
                  <a:ext uri="{FF2B5EF4-FFF2-40B4-BE49-F238E27FC236}">
                    <a16:creationId xmlns:a16="http://schemas.microsoft.com/office/drawing/2014/main" id="{1773536B-DA9F-4AE3-B62E-CAC2029D5D0E}"/>
                  </a:ext>
                </a:extLst>
              </p:cNvPr>
              <p:cNvCxnSpPr>
                <a:cxnSpLocks/>
                <a:stCxn id="3" idx="6"/>
                <a:endCxn id="65" idx="2"/>
              </p:cNvCxnSpPr>
              <p:nvPr/>
            </p:nvCxnSpPr>
            <p:spPr>
              <a:xfrm>
                <a:off x="2021081" y="3817937"/>
                <a:ext cx="901053" cy="0"/>
              </a:xfrm>
              <a:prstGeom prst="straightConnector1">
                <a:avLst/>
              </a:prstGeom>
              <a:ln w="190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9F27C5DF-0F44-4751-92BE-0B433608C940}"/>
                </a:ext>
              </a:extLst>
            </p:cNvPr>
            <p:cNvGrpSpPr/>
            <p:nvPr/>
          </p:nvGrpSpPr>
          <p:grpSpPr>
            <a:xfrm>
              <a:off x="4465389" y="1643717"/>
              <a:ext cx="1314436" cy="1314436"/>
              <a:chOff x="4465389" y="1643717"/>
              <a:chExt cx="1314436" cy="1314436"/>
            </a:xfrm>
          </p:grpSpPr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7124119E-30BE-4224-8101-24F078B04339}"/>
                  </a:ext>
                </a:extLst>
              </p:cNvPr>
              <p:cNvSpPr/>
              <p:nvPr/>
            </p:nvSpPr>
            <p:spPr>
              <a:xfrm>
                <a:off x="4465389" y="164371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36E1202D-2A8A-43C7-AD8C-E6BCD3F64C9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02416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AACC6B04-BA26-476B-98C1-50F337596D4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19024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" name="Oval 88">
                <a:extLst>
                  <a:ext uri="{FF2B5EF4-FFF2-40B4-BE49-F238E27FC236}">
                    <a16:creationId xmlns:a16="http://schemas.microsoft.com/office/drawing/2014/main" id="{D0342F7B-3861-42A3-8861-13975A2366D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208865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4516E94F-BBF1-48F2-8609-67AC4BD9E72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224317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AB3EEC6D-6E61-4A11-A4D9-CA80CF9BDDD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24426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25A68399-9B61-4666-A88A-AE293EC6254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2285091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8ED219B8-81D8-4462-93BE-9E86059467F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202416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9755050F-E6AC-4AF7-8EE5-D0C90A4674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18360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59240549-F169-468F-991D-F04B90F509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176849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4419F97E-044E-41BC-88BE-3CCF73DFDC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210400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177658DB-467D-4C96-A5F8-F3D98DD129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193586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17BF366A-657B-4123-8219-635BE9B4B9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222732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71078BDD-184C-4040-9DA6-57CA63217E0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26275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7964E424-BCFF-4C2A-9BE9-17C7EC0AE29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44115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361191C3-BDDC-470A-8E81-D32D0535D6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244115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id="{A3A9949B-1D4C-4562-9BBD-7D872F9A915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255976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70E81009-4821-4A7E-BE4D-D2529EA639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24078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8703BE16-1563-4506-B7B5-580B33767F5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57665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CCEFE80C-B464-4DBB-BDB0-DED1FE1485B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26016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FB4C6EA3-85F2-4764-A1A6-1F4C372ABA3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267341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673BE4FC-047E-4E0A-A39B-5E4221E691C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27495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D8DFED86-D974-46D4-BD1C-9A06CFEB001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19390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B562B8CB-EA71-4A4D-B0B6-81F65C87782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211741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0D3E704B-A170-4F55-A575-1DAC80DA4AA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230033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EF6EC709-52CB-4657-A325-C0A5CE31ADE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21489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025E7FE7-A2E4-4C20-95A5-A5FF7692C7F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178970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EC13F900-E9C7-481D-8631-E67A9DFDC239}"/>
                </a:ext>
              </a:extLst>
            </p:cNvPr>
            <p:cNvGrpSpPr/>
            <p:nvPr/>
          </p:nvGrpSpPr>
          <p:grpSpPr>
            <a:xfrm>
              <a:off x="6629556" y="1850519"/>
              <a:ext cx="900831" cy="900831"/>
              <a:chOff x="2504473" y="3067760"/>
              <a:chExt cx="1081690" cy="1081690"/>
            </a:xfrm>
          </p:grpSpPr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1BF3A739-1137-4AFE-809E-9E9AFCC06EA5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79" name="Diamond 78">
                  <a:extLst>
                    <a:ext uri="{FF2B5EF4-FFF2-40B4-BE49-F238E27FC236}">
                      <a16:creationId xmlns:a16="http://schemas.microsoft.com/office/drawing/2014/main" id="{186F1C15-ECB5-4DBF-8FC7-FAE8809EBA25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Rectangle 79">
                  <a:extLst>
                    <a:ext uri="{FF2B5EF4-FFF2-40B4-BE49-F238E27FC236}">
                      <a16:creationId xmlns:a16="http://schemas.microsoft.com/office/drawing/2014/main" id="{34238D15-75B5-4711-9D5A-E783E703A471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41966F6D-AA39-4774-A9F4-28CE3C142321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82" name="Straight Connector 81">
                  <a:extLst>
                    <a:ext uri="{FF2B5EF4-FFF2-40B4-BE49-F238E27FC236}">
                      <a16:creationId xmlns:a16="http://schemas.microsoft.com/office/drawing/2014/main" id="{2543B378-A543-4BC3-AC87-C067F777B806}"/>
                    </a:ext>
                  </a:extLst>
                </p:cNvPr>
                <p:cNvCxnSpPr>
                  <a:cxnSpLocks/>
                  <a:stCxn id="81" idx="2"/>
                  <a:endCxn id="79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Straight Connector 50">
                  <a:extLst>
                    <a:ext uri="{FF2B5EF4-FFF2-40B4-BE49-F238E27FC236}">
                      <a16:creationId xmlns:a16="http://schemas.microsoft.com/office/drawing/2014/main" id="{E6B2EEF7-86A0-47B3-8092-80E2616FB560}"/>
                    </a:ext>
                  </a:extLst>
                </p:cNvPr>
                <p:cNvCxnSpPr>
                  <a:cxnSpLocks/>
                  <a:stCxn id="79" idx="1"/>
                  <a:endCxn id="80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Straight Connector 50">
                  <a:extLst>
                    <a:ext uri="{FF2B5EF4-FFF2-40B4-BE49-F238E27FC236}">
                      <a16:creationId xmlns:a16="http://schemas.microsoft.com/office/drawing/2014/main" id="{14D03DE7-392E-4D03-982F-846C2FC4A24D}"/>
                    </a:ext>
                  </a:extLst>
                </p:cNvPr>
                <p:cNvCxnSpPr>
                  <a:cxnSpLocks/>
                  <a:stCxn id="79" idx="3"/>
                  <a:endCxn id="85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5" name="Rectangle 84">
                  <a:extLst>
                    <a:ext uri="{FF2B5EF4-FFF2-40B4-BE49-F238E27FC236}">
                      <a16:creationId xmlns:a16="http://schemas.microsoft.com/office/drawing/2014/main" id="{BFD6962D-41D1-4D02-AF75-C9CE955F6760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1FD7F3DF-8EDB-4700-B286-B17A48D0152A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1C472B62-5155-4663-A473-F2F1A9B2DD5F}"/>
                </a:ext>
              </a:extLst>
            </p:cNvPr>
            <p:cNvCxnSpPr>
              <a:cxnSpLocks/>
              <a:stCxn id="86" idx="6"/>
              <a:endCxn id="78" idx="2"/>
            </p:cNvCxnSpPr>
            <p:nvPr/>
          </p:nvCxnSpPr>
          <p:spPr>
            <a:xfrm>
              <a:off x="5779825" y="230093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8B232418-063A-4A22-8794-4A5DF4D216F2}"/>
                </a:ext>
              </a:extLst>
            </p:cNvPr>
            <p:cNvGrpSpPr/>
            <p:nvPr/>
          </p:nvGrpSpPr>
          <p:grpSpPr>
            <a:xfrm>
              <a:off x="4465389" y="3111507"/>
              <a:ext cx="1314436" cy="1314436"/>
              <a:chOff x="4465389" y="3111507"/>
              <a:chExt cx="1314436" cy="1314436"/>
            </a:xfrm>
          </p:grpSpPr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E4707C79-3D6A-4925-A212-9F7B0DD52DF2}"/>
                  </a:ext>
                </a:extLst>
              </p:cNvPr>
              <p:cNvSpPr/>
              <p:nvPr/>
            </p:nvSpPr>
            <p:spPr>
              <a:xfrm>
                <a:off x="4465389" y="311150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F91386FE-9826-4778-A32B-B7B8C90BB9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34919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64585479-1D44-488F-8788-80DFB7437FC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337023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3A64B451-4180-404B-BF30-DC9F2CA27C0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355644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801A0A6B-AFA3-4B86-88C4-5E94EFAC67A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371096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3F544A7D-002F-4F77-A106-C539833A9B9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391044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D8ADB69F-FA8F-4484-9BE2-818FED03B40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3752881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3" name="Oval 132">
                <a:extLst>
                  <a:ext uri="{FF2B5EF4-FFF2-40B4-BE49-F238E27FC236}">
                    <a16:creationId xmlns:a16="http://schemas.microsoft.com/office/drawing/2014/main" id="{ABDBBFCE-941B-4347-B615-97991FDF84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34919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4" name="Oval 133">
                <a:extLst>
                  <a:ext uri="{FF2B5EF4-FFF2-40B4-BE49-F238E27FC236}">
                    <a16:creationId xmlns:a16="http://schemas.microsoft.com/office/drawing/2014/main" id="{09A61B47-BCED-4B2C-8F01-A37420BD10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330387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5" name="Oval 134">
                <a:extLst>
                  <a:ext uri="{FF2B5EF4-FFF2-40B4-BE49-F238E27FC236}">
                    <a16:creationId xmlns:a16="http://schemas.microsoft.com/office/drawing/2014/main" id="{9B4470E5-95E1-4F29-AAEB-F6776EE277F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323628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6" name="Oval 135">
                <a:extLst>
                  <a:ext uri="{FF2B5EF4-FFF2-40B4-BE49-F238E27FC236}">
                    <a16:creationId xmlns:a16="http://schemas.microsoft.com/office/drawing/2014/main" id="{8F38A42B-C0EF-4F2C-8260-0AA4EC42BC7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357179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7" name="Oval 136">
                <a:extLst>
                  <a:ext uri="{FF2B5EF4-FFF2-40B4-BE49-F238E27FC236}">
                    <a16:creationId xmlns:a16="http://schemas.microsoft.com/office/drawing/2014/main" id="{7F422806-FADF-4EB5-9AC0-95FFBDBDB3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340365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8" name="Oval 137">
                <a:extLst>
                  <a:ext uri="{FF2B5EF4-FFF2-40B4-BE49-F238E27FC236}">
                    <a16:creationId xmlns:a16="http://schemas.microsoft.com/office/drawing/2014/main" id="{10ED9622-5D7D-4015-8491-126AE7C6745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369511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" name="Oval 138">
                <a:extLst>
                  <a:ext uri="{FF2B5EF4-FFF2-40B4-BE49-F238E27FC236}">
                    <a16:creationId xmlns:a16="http://schemas.microsoft.com/office/drawing/2014/main" id="{D401B15E-214B-4740-8742-CAFCAFBB4D5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373054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0" name="Oval 139">
                <a:extLst>
                  <a:ext uri="{FF2B5EF4-FFF2-40B4-BE49-F238E27FC236}">
                    <a16:creationId xmlns:a16="http://schemas.microsoft.com/office/drawing/2014/main" id="{143ED1E4-4462-4501-B3EB-FDB42D40DE2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39089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" name="Oval 140">
                <a:extLst>
                  <a:ext uri="{FF2B5EF4-FFF2-40B4-BE49-F238E27FC236}">
                    <a16:creationId xmlns:a16="http://schemas.microsoft.com/office/drawing/2014/main" id="{2A806AFB-1BDD-443A-8F65-7241AEE9089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39089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2" name="Oval 141">
                <a:extLst>
                  <a:ext uri="{FF2B5EF4-FFF2-40B4-BE49-F238E27FC236}">
                    <a16:creationId xmlns:a16="http://schemas.microsoft.com/office/drawing/2014/main" id="{0AC15563-9019-4CF5-9518-5058C6BAC05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4027559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" name="Oval 142">
                <a:extLst>
                  <a:ext uri="{FF2B5EF4-FFF2-40B4-BE49-F238E27FC236}">
                    <a16:creationId xmlns:a16="http://schemas.microsoft.com/office/drawing/2014/main" id="{5960FB6C-E91E-4F00-BDFB-C1811B51907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387563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4" name="Oval 143">
                <a:extLst>
                  <a:ext uri="{FF2B5EF4-FFF2-40B4-BE49-F238E27FC236}">
                    <a16:creationId xmlns:a16="http://schemas.microsoft.com/office/drawing/2014/main" id="{6ADFC9FC-C6D1-47A0-BD71-B28ADCA116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40444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D83362CC-208C-44E8-A949-5A9BFB5AC62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4069477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6" name="Oval 145">
                <a:extLst>
                  <a:ext uri="{FF2B5EF4-FFF2-40B4-BE49-F238E27FC236}">
                    <a16:creationId xmlns:a16="http://schemas.microsoft.com/office/drawing/2014/main" id="{7F8769E6-784E-4078-A16B-E5428B1566A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414120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7" name="Oval 146">
                <a:extLst>
                  <a:ext uri="{FF2B5EF4-FFF2-40B4-BE49-F238E27FC236}">
                    <a16:creationId xmlns:a16="http://schemas.microsoft.com/office/drawing/2014/main" id="{483E82FD-205E-414E-A4B7-D0EC585859B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421733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8" name="Oval 147">
                <a:extLst>
                  <a:ext uri="{FF2B5EF4-FFF2-40B4-BE49-F238E27FC236}">
                    <a16:creationId xmlns:a16="http://schemas.microsoft.com/office/drawing/2014/main" id="{3F6BEB30-394A-4014-A0AC-D6909C823E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340680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9" name="Oval 148">
                <a:extLst>
                  <a:ext uri="{FF2B5EF4-FFF2-40B4-BE49-F238E27FC236}">
                    <a16:creationId xmlns:a16="http://schemas.microsoft.com/office/drawing/2014/main" id="{64C7637C-52FF-4974-B076-7FF847F9E6E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358520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0" name="Oval 149">
                <a:extLst>
                  <a:ext uri="{FF2B5EF4-FFF2-40B4-BE49-F238E27FC236}">
                    <a16:creationId xmlns:a16="http://schemas.microsoft.com/office/drawing/2014/main" id="{1BEA65B7-1BD6-4592-9E6D-05183F07A03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3768122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1" name="Oval 150">
                <a:extLst>
                  <a:ext uri="{FF2B5EF4-FFF2-40B4-BE49-F238E27FC236}">
                    <a16:creationId xmlns:a16="http://schemas.microsoft.com/office/drawing/2014/main" id="{91F849FC-C005-4307-B531-E527FAC3B80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361670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2" name="Oval 151">
                <a:extLst>
                  <a:ext uri="{FF2B5EF4-FFF2-40B4-BE49-F238E27FC236}">
                    <a16:creationId xmlns:a16="http://schemas.microsoft.com/office/drawing/2014/main" id="{35798704-D892-459E-A88D-AD30CA20EC2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325749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AD50B8C0-D66B-4319-BB47-8CD9A1603DA6}"/>
                </a:ext>
              </a:extLst>
            </p:cNvPr>
            <p:cNvGrpSpPr/>
            <p:nvPr/>
          </p:nvGrpSpPr>
          <p:grpSpPr>
            <a:xfrm>
              <a:off x="6629556" y="3318309"/>
              <a:ext cx="900831" cy="900831"/>
              <a:chOff x="2504473" y="3067760"/>
              <a:chExt cx="1081690" cy="1081690"/>
            </a:xfrm>
          </p:grpSpPr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CEDB42D2-3523-4F14-845A-FEA741378201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119" name="Diamond 118">
                  <a:extLst>
                    <a:ext uri="{FF2B5EF4-FFF2-40B4-BE49-F238E27FC236}">
                      <a16:creationId xmlns:a16="http://schemas.microsoft.com/office/drawing/2014/main" id="{3B086D67-AC16-4EE3-B1BE-A09F5CC55FD6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Rectangle 119">
                  <a:extLst>
                    <a:ext uri="{FF2B5EF4-FFF2-40B4-BE49-F238E27FC236}">
                      <a16:creationId xmlns:a16="http://schemas.microsoft.com/office/drawing/2014/main" id="{2626DB1F-6016-48F1-9A05-B195FF473BE4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EEDA30F1-8488-41CE-82D4-5B9B07766C6D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122" name="Straight Connector 121">
                  <a:extLst>
                    <a:ext uri="{FF2B5EF4-FFF2-40B4-BE49-F238E27FC236}">
                      <a16:creationId xmlns:a16="http://schemas.microsoft.com/office/drawing/2014/main" id="{5E45801A-88AA-4702-84AD-837F3C183FDE}"/>
                    </a:ext>
                  </a:extLst>
                </p:cNvPr>
                <p:cNvCxnSpPr>
                  <a:cxnSpLocks/>
                  <a:stCxn id="121" idx="2"/>
                  <a:endCxn id="119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Straight Connector 50">
                  <a:extLst>
                    <a:ext uri="{FF2B5EF4-FFF2-40B4-BE49-F238E27FC236}">
                      <a16:creationId xmlns:a16="http://schemas.microsoft.com/office/drawing/2014/main" id="{5AA8ABBC-A08D-41DD-BDB7-2D64FB586293}"/>
                    </a:ext>
                  </a:extLst>
                </p:cNvPr>
                <p:cNvCxnSpPr>
                  <a:cxnSpLocks/>
                  <a:stCxn id="119" idx="1"/>
                  <a:endCxn id="120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Straight Connector 50">
                  <a:extLst>
                    <a:ext uri="{FF2B5EF4-FFF2-40B4-BE49-F238E27FC236}">
                      <a16:creationId xmlns:a16="http://schemas.microsoft.com/office/drawing/2014/main" id="{3DF9743F-A1F0-4626-B30A-852E1D322E0F}"/>
                    </a:ext>
                  </a:extLst>
                </p:cNvPr>
                <p:cNvCxnSpPr>
                  <a:cxnSpLocks/>
                  <a:stCxn id="119" idx="3"/>
                  <a:endCxn id="125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C9199432-4C7B-4C02-BBAF-3925F017FAAB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869A2D2E-90FC-42A9-84B0-D87C31AA182C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116" name="Straight Arrow Connector 115">
              <a:extLst>
                <a:ext uri="{FF2B5EF4-FFF2-40B4-BE49-F238E27FC236}">
                  <a16:creationId xmlns:a16="http://schemas.microsoft.com/office/drawing/2014/main" id="{CFE3E9C5-94AD-4AC1-833F-0A4F82B87E73}"/>
                </a:ext>
              </a:extLst>
            </p:cNvPr>
            <p:cNvCxnSpPr>
              <a:cxnSpLocks/>
              <a:stCxn id="126" idx="6"/>
              <a:endCxn id="118" idx="2"/>
            </p:cNvCxnSpPr>
            <p:nvPr/>
          </p:nvCxnSpPr>
          <p:spPr>
            <a:xfrm>
              <a:off x="5779825" y="376872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7" name="Group 196">
              <a:extLst>
                <a:ext uri="{FF2B5EF4-FFF2-40B4-BE49-F238E27FC236}">
                  <a16:creationId xmlns:a16="http://schemas.microsoft.com/office/drawing/2014/main" id="{14C52230-780E-4278-B6DB-9333885158D5}"/>
                </a:ext>
              </a:extLst>
            </p:cNvPr>
            <p:cNvGrpSpPr/>
            <p:nvPr/>
          </p:nvGrpSpPr>
          <p:grpSpPr>
            <a:xfrm>
              <a:off x="4465389" y="4579297"/>
              <a:ext cx="1314436" cy="1314436"/>
              <a:chOff x="4465389" y="4579297"/>
              <a:chExt cx="1314436" cy="1314436"/>
            </a:xfrm>
          </p:grpSpPr>
          <p:sp>
            <p:nvSpPr>
              <p:cNvPr id="166" name="Oval 165">
                <a:extLst>
                  <a:ext uri="{FF2B5EF4-FFF2-40B4-BE49-F238E27FC236}">
                    <a16:creationId xmlns:a16="http://schemas.microsoft.com/office/drawing/2014/main" id="{CF2342D6-2D09-43FF-B76A-002B28BB6CAB}"/>
                  </a:ext>
                </a:extLst>
              </p:cNvPr>
              <p:cNvSpPr/>
              <p:nvPr/>
            </p:nvSpPr>
            <p:spPr>
              <a:xfrm>
                <a:off x="4465389" y="457929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1019A155-954A-4137-AA90-4DBCF65C127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495974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73773337-8654-4AB8-B5ED-AB715C6FD7B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483802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49544D80-35E4-4342-9304-45F08036D3B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502423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217F1FF9-E6E8-474D-AF71-168E9E43CF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51787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1D4EA475-0409-472B-A09E-05811B32C91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537823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644DD385-96A1-4838-9093-B2FF960AF2E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5220671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BB05532E-1BAE-4E9E-BD07-01EC585C5FF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495974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D93C9ED1-D80E-4CC1-A7DD-E63ED9C928A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477166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5" name="Oval 174">
                <a:extLst>
                  <a:ext uri="{FF2B5EF4-FFF2-40B4-BE49-F238E27FC236}">
                    <a16:creationId xmlns:a16="http://schemas.microsoft.com/office/drawing/2014/main" id="{4BA84D77-CB13-4D7A-87FA-8FE89A77726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470407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6" name="Oval 175">
                <a:extLst>
                  <a:ext uri="{FF2B5EF4-FFF2-40B4-BE49-F238E27FC236}">
                    <a16:creationId xmlns:a16="http://schemas.microsoft.com/office/drawing/2014/main" id="{74336314-360F-43B8-A190-436E91375AA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503958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7" name="Oval 176">
                <a:extLst>
                  <a:ext uri="{FF2B5EF4-FFF2-40B4-BE49-F238E27FC236}">
                    <a16:creationId xmlns:a16="http://schemas.microsoft.com/office/drawing/2014/main" id="{6AC33DB9-F869-4AEB-A498-4F2E8951369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4871449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8" name="Oval 177">
                <a:extLst>
                  <a:ext uri="{FF2B5EF4-FFF2-40B4-BE49-F238E27FC236}">
                    <a16:creationId xmlns:a16="http://schemas.microsoft.com/office/drawing/2014/main" id="{8B496108-A9C2-43DA-9123-99969F92ED5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516290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9" name="Oval 178">
                <a:extLst>
                  <a:ext uri="{FF2B5EF4-FFF2-40B4-BE49-F238E27FC236}">
                    <a16:creationId xmlns:a16="http://schemas.microsoft.com/office/drawing/2014/main" id="{933B8625-40EA-44C4-B1F8-EF5B0C7B5A0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519833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0" name="Oval 179">
                <a:extLst>
                  <a:ext uri="{FF2B5EF4-FFF2-40B4-BE49-F238E27FC236}">
                    <a16:creationId xmlns:a16="http://schemas.microsoft.com/office/drawing/2014/main" id="{9FDF6C5A-C8E0-4F92-A415-C0A7B70C2F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537673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1" name="Oval 180">
                <a:extLst>
                  <a:ext uri="{FF2B5EF4-FFF2-40B4-BE49-F238E27FC236}">
                    <a16:creationId xmlns:a16="http://schemas.microsoft.com/office/drawing/2014/main" id="{CE9E179C-15EE-428E-BEE4-0946D6023C8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537673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2" name="Oval 181">
                <a:extLst>
                  <a:ext uri="{FF2B5EF4-FFF2-40B4-BE49-F238E27FC236}">
                    <a16:creationId xmlns:a16="http://schemas.microsoft.com/office/drawing/2014/main" id="{285FCC44-D4CA-4B8C-B383-CABD0316C33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549534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3" name="Oval 182">
                <a:extLst>
                  <a:ext uri="{FF2B5EF4-FFF2-40B4-BE49-F238E27FC236}">
                    <a16:creationId xmlns:a16="http://schemas.microsoft.com/office/drawing/2014/main" id="{CF044FC1-9CAD-4B72-A83D-BCA7FAEA0E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534342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4" name="Oval 183">
                <a:extLst>
                  <a:ext uri="{FF2B5EF4-FFF2-40B4-BE49-F238E27FC236}">
                    <a16:creationId xmlns:a16="http://schemas.microsoft.com/office/drawing/2014/main" id="{F5414B11-33F9-410C-83D4-245D5CB640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551223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5" name="Oval 184">
                <a:extLst>
                  <a:ext uri="{FF2B5EF4-FFF2-40B4-BE49-F238E27FC236}">
                    <a16:creationId xmlns:a16="http://schemas.microsoft.com/office/drawing/2014/main" id="{E603AFF1-F4E2-4035-9841-23B306B4967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553726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6" name="Oval 185">
                <a:extLst>
                  <a:ext uri="{FF2B5EF4-FFF2-40B4-BE49-F238E27FC236}">
                    <a16:creationId xmlns:a16="http://schemas.microsoft.com/office/drawing/2014/main" id="{615BF66B-2489-4021-8128-E41F37294E5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560899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7" name="Oval 186">
                <a:extLst>
                  <a:ext uri="{FF2B5EF4-FFF2-40B4-BE49-F238E27FC236}">
                    <a16:creationId xmlns:a16="http://schemas.microsoft.com/office/drawing/2014/main" id="{BF08B53D-C511-40CB-9687-A5CB641B593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568512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8" name="Oval 187">
                <a:extLst>
                  <a:ext uri="{FF2B5EF4-FFF2-40B4-BE49-F238E27FC236}">
                    <a16:creationId xmlns:a16="http://schemas.microsoft.com/office/drawing/2014/main" id="{65928897-B1EB-4ABE-BC8E-F8D86E49BAF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487459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9" name="Oval 188">
                <a:extLst>
                  <a:ext uri="{FF2B5EF4-FFF2-40B4-BE49-F238E27FC236}">
                    <a16:creationId xmlns:a16="http://schemas.microsoft.com/office/drawing/2014/main" id="{E5742298-9DBE-4267-AD35-397A346F131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505299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0" name="Oval 189">
                <a:extLst>
                  <a:ext uri="{FF2B5EF4-FFF2-40B4-BE49-F238E27FC236}">
                    <a16:creationId xmlns:a16="http://schemas.microsoft.com/office/drawing/2014/main" id="{FE707A5C-2CFD-4463-8143-427D3920B96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523591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1" name="Oval 190">
                <a:extLst>
                  <a:ext uri="{FF2B5EF4-FFF2-40B4-BE49-F238E27FC236}">
                    <a16:creationId xmlns:a16="http://schemas.microsoft.com/office/drawing/2014/main" id="{20CED5E6-7575-46A1-A4EC-FB623290D07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5084497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2" name="Oval 191">
                <a:extLst>
                  <a:ext uri="{FF2B5EF4-FFF2-40B4-BE49-F238E27FC236}">
                    <a16:creationId xmlns:a16="http://schemas.microsoft.com/office/drawing/2014/main" id="{952001F7-67A4-484E-B15D-91F5B34B8FD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472528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15E7E65E-CC42-4D4C-8FD0-2B5EC3C55BEB}"/>
                </a:ext>
              </a:extLst>
            </p:cNvPr>
            <p:cNvGrpSpPr/>
            <p:nvPr/>
          </p:nvGrpSpPr>
          <p:grpSpPr>
            <a:xfrm>
              <a:off x="6629556" y="4786099"/>
              <a:ext cx="900831" cy="900831"/>
              <a:chOff x="2504473" y="3067760"/>
              <a:chExt cx="1081690" cy="1081690"/>
            </a:xfrm>
          </p:grpSpPr>
          <p:grpSp>
            <p:nvGrpSpPr>
              <p:cNvPr id="157" name="Group 156">
                <a:extLst>
                  <a:ext uri="{FF2B5EF4-FFF2-40B4-BE49-F238E27FC236}">
                    <a16:creationId xmlns:a16="http://schemas.microsoft.com/office/drawing/2014/main" id="{3F1AA123-3669-4010-9658-6AE831A2E80B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159" name="Diamond 158">
                  <a:extLst>
                    <a:ext uri="{FF2B5EF4-FFF2-40B4-BE49-F238E27FC236}">
                      <a16:creationId xmlns:a16="http://schemas.microsoft.com/office/drawing/2014/main" id="{F583D6DF-7A20-4F59-B3D3-7D44984EACAD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Rectangle 159">
                  <a:extLst>
                    <a:ext uri="{FF2B5EF4-FFF2-40B4-BE49-F238E27FC236}">
                      <a16:creationId xmlns:a16="http://schemas.microsoft.com/office/drawing/2014/main" id="{ED6560D2-1FD8-4C66-8990-D1D4E51164DC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Rectangle 160">
                  <a:extLst>
                    <a:ext uri="{FF2B5EF4-FFF2-40B4-BE49-F238E27FC236}">
                      <a16:creationId xmlns:a16="http://schemas.microsoft.com/office/drawing/2014/main" id="{98BC6F7C-AE95-41A5-B398-E4AC25EF710D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162" name="Straight Connector 161">
                  <a:extLst>
                    <a:ext uri="{FF2B5EF4-FFF2-40B4-BE49-F238E27FC236}">
                      <a16:creationId xmlns:a16="http://schemas.microsoft.com/office/drawing/2014/main" id="{B328A72A-FD20-4534-9EBA-D059E6E19116}"/>
                    </a:ext>
                  </a:extLst>
                </p:cNvPr>
                <p:cNvCxnSpPr>
                  <a:cxnSpLocks/>
                  <a:stCxn id="161" idx="2"/>
                  <a:endCxn id="159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3" name="Straight Connector 50">
                  <a:extLst>
                    <a:ext uri="{FF2B5EF4-FFF2-40B4-BE49-F238E27FC236}">
                      <a16:creationId xmlns:a16="http://schemas.microsoft.com/office/drawing/2014/main" id="{C28F2823-E9FE-4825-AC63-D1C7E1EE0F4F}"/>
                    </a:ext>
                  </a:extLst>
                </p:cNvPr>
                <p:cNvCxnSpPr>
                  <a:cxnSpLocks/>
                  <a:stCxn id="159" idx="1"/>
                  <a:endCxn id="160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4" name="Straight Connector 50">
                  <a:extLst>
                    <a:ext uri="{FF2B5EF4-FFF2-40B4-BE49-F238E27FC236}">
                      <a16:creationId xmlns:a16="http://schemas.microsoft.com/office/drawing/2014/main" id="{BE3BE2DA-9209-45B2-88EE-FC18E57CED24}"/>
                    </a:ext>
                  </a:extLst>
                </p:cNvPr>
                <p:cNvCxnSpPr>
                  <a:cxnSpLocks/>
                  <a:stCxn id="159" idx="3"/>
                  <a:endCxn id="165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7DC8C9D5-018D-4BD7-8E49-F9D732225EA8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58" name="Oval 157">
                <a:extLst>
                  <a:ext uri="{FF2B5EF4-FFF2-40B4-BE49-F238E27FC236}">
                    <a16:creationId xmlns:a16="http://schemas.microsoft.com/office/drawing/2014/main" id="{513EDC84-4641-463D-8324-7CFEB0790C8F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156" name="Straight Arrow Connector 155">
              <a:extLst>
                <a:ext uri="{FF2B5EF4-FFF2-40B4-BE49-F238E27FC236}">
                  <a16:creationId xmlns:a16="http://schemas.microsoft.com/office/drawing/2014/main" id="{164A63B4-F019-4C25-82C7-B0678CD28960}"/>
                </a:ext>
              </a:extLst>
            </p:cNvPr>
            <p:cNvCxnSpPr>
              <a:cxnSpLocks/>
              <a:stCxn id="166" idx="6"/>
              <a:endCxn id="158" idx="2"/>
            </p:cNvCxnSpPr>
            <p:nvPr/>
          </p:nvCxnSpPr>
          <p:spPr>
            <a:xfrm>
              <a:off x="5779825" y="523651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C63E4B70-6791-476C-BC7F-74F6144CD7BB}"/>
                </a:ext>
              </a:extLst>
            </p:cNvPr>
            <p:cNvSpPr txBox="1"/>
            <p:nvPr/>
          </p:nvSpPr>
          <p:spPr>
            <a:xfrm>
              <a:off x="1519467" y="5919844"/>
              <a:ext cx="1469954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 iteration</a:t>
              </a:r>
            </a:p>
          </p:txBody>
        </p:sp>
        <p:sp>
          <p:nvSpPr>
            <p:cNvPr id="200" name="TextBox 199">
              <a:extLst>
                <a:ext uri="{FF2B5EF4-FFF2-40B4-BE49-F238E27FC236}">
                  <a16:creationId xmlns:a16="http://schemas.microsoft.com/office/drawing/2014/main" id="{6A9A2482-89F1-481D-BE36-80605E5E996C}"/>
                </a:ext>
              </a:extLst>
            </p:cNvPr>
            <p:cNvSpPr txBox="1"/>
            <p:nvPr/>
          </p:nvSpPr>
          <p:spPr>
            <a:xfrm>
              <a:off x="5450462" y="5919844"/>
              <a:ext cx="1094852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rallel</a:t>
              </a:r>
            </a:p>
          </p:txBody>
        </p: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E7E7962E-AEEF-4128-AE8C-CDCDCAC794E9}"/>
                </a:ext>
              </a:extLst>
            </p:cNvPr>
            <p:cNvSpPr txBox="1"/>
            <p:nvPr/>
          </p:nvSpPr>
          <p:spPr>
            <a:xfrm>
              <a:off x="8963876" y="5919844"/>
              <a:ext cx="1554913" cy="3693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quential</a:t>
              </a:r>
            </a:p>
          </p:txBody>
        </p:sp>
        <p:grpSp>
          <p:nvGrpSpPr>
            <p:cNvPr id="202" name="Group 201">
              <a:extLst>
                <a:ext uri="{FF2B5EF4-FFF2-40B4-BE49-F238E27FC236}">
                  <a16:creationId xmlns:a16="http://schemas.microsoft.com/office/drawing/2014/main" id="{771EE23C-7EA8-419C-8CCB-6F4B68EEC793}"/>
                </a:ext>
              </a:extLst>
            </p:cNvPr>
            <p:cNvGrpSpPr/>
            <p:nvPr/>
          </p:nvGrpSpPr>
          <p:grpSpPr>
            <a:xfrm>
              <a:off x="8208833" y="1643717"/>
              <a:ext cx="1314436" cy="1314436"/>
              <a:chOff x="4465389" y="1643717"/>
              <a:chExt cx="1314436" cy="1314436"/>
            </a:xfrm>
          </p:grpSpPr>
          <p:sp>
            <p:nvSpPr>
              <p:cNvPr id="203" name="Oval 202">
                <a:extLst>
                  <a:ext uri="{FF2B5EF4-FFF2-40B4-BE49-F238E27FC236}">
                    <a16:creationId xmlns:a16="http://schemas.microsoft.com/office/drawing/2014/main" id="{512AD48E-C04E-42D8-82AA-AEDCCF9A2826}"/>
                  </a:ext>
                </a:extLst>
              </p:cNvPr>
              <p:cNvSpPr/>
              <p:nvPr/>
            </p:nvSpPr>
            <p:spPr>
              <a:xfrm>
                <a:off x="4465389" y="164371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4" name="Oval 203">
                <a:extLst>
                  <a:ext uri="{FF2B5EF4-FFF2-40B4-BE49-F238E27FC236}">
                    <a16:creationId xmlns:a16="http://schemas.microsoft.com/office/drawing/2014/main" id="{88CDB84C-844C-4722-876E-69D75A3750F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02416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5" name="Oval 204">
                <a:extLst>
                  <a:ext uri="{FF2B5EF4-FFF2-40B4-BE49-F238E27FC236}">
                    <a16:creationId xmlns:a16="http://schemas.microsoft.com/office/drawing/2014/main" id="{15FF6AD7-33FB-4053-91A5-587DF536BD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19024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20AD51DD-E177-4195-B519-FE1A60AB64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18030" y="2070951"/>
                <a:ext cx="119234" cy="11923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7" name="Oval 206">
                <a:extLst>
                  <a:ext uri="{FF2B5EF4-FFF2-40B4-BE49-F238E27FC236}">
                    <a16:creationId xmlns:a16="http://schemas.microsoft.com/office/drawing/2014/main" id="{6FED5B95-AE63-4CE0-94E3-686C0658FF1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224317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27CFC84B-B719-469A-8D36-F895E8D7B2E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24426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9" name="Oval 208">
                <a:extLst>
                  <a:ext uri="{FF2B5EF4-FFF2-40B4-BE49-F238E27FC236}">
                    <a16:creationId xmlns:a16="http://schemas.microsoft.com/office/drawing/2014/main" id="{3572C78D-8363-47B9-94EA-9CD58CCE753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30029" y="2267392"/>
                <a:ext cx="119234" cy="11923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1470821B-4F36-401C-89FD-F3D6C110687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202416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27009091-6EA9-4594-9288-8A96449BC97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18360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0F4ECB97-7A13-4DF7-AA42-2F609EAFFF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176849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C39D2A1B-A8AE-4EF9-9F8B-A64638B1F30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210400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E2A76636-5C88-4453-BD80-78C72B8184A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1654" y="1918170"/>
                <a:ext cx="119234" cy="11923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552F38F3-0D71-419F-BA61-485AEB4A5F9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51878" y="2209629"/>
                <a:ext cx="119234" cy="11923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6" name="Oval 215">
                <a:extLst>
                  <a:ext uri="{FF2B5EF4-FFF2-40B4-BE49-F238E27FC236}">
                    <a16:creationId xmlns:a16="http://schemas.microsoft.com/office/drawing/2014/main" id="{ECE9D058-F0E1-4D55-8D9E-A678496D285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26275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9D7BED3F-D0FF-49C4-B78B-1C986730493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244115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8" name="Oval 217">
                <a:extLst>
                  <a:ext uri="{FF2B5EF4-FFF2-40B4-BE49-F238E27FC236}">
                    <a16:creationId xmlns:a16="http://schemas.microsoft.com/office/drawing/2014/main" id="{2ED9ED77-A629-4FEF-9C02-347CDCA5BD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244115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F834EC57-3EE1-4D97-8543-47EBE86835D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255976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0" name="Oval 219">
                <a:extLst>
                  <a:ext uri="{FF2B5EF4-FFF2-40B4-BE49-F238E27FC236}">
                    <a16:creationId xmlns:a16="http://schemas.microsoft.com/office/drawing/2014/main" id="{72679675-C479-47CC-9B50-45C7E3EECC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24078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1" name="Oval 220">
                <a:extLst>
                  <a:ext uri="{FF2B5EF4-FFF2-40B4-BE49-F238E27FC236}">
                    <a16:creationId xmlns:a16="http://schemas.microsoft.com/office/drawing/2014/main" id="{16D39130-401E-4BE7-A3A0-2765A801A27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257665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2" name="Oval 221">
                <a:extLst>
                  <a:ext uri="{FF2B5EF4-FFF2-40B4-BE49-F238E27FC236}">
                    <a16:creationId xmlns:a16="http://schemas.microsoft.com/office/drawing/2014/main" id="{928087C7-6CF9-477E-9586-101B965BE60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260168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193D975A-55C4-4663-AE31-A400587BC04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267341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4" name="Oval 223">
                <a:extLst>
                  <a:ext uri="{FF2B5EF4-FFF2-40B4-BE49-F238E27FC236}">
                    <a16:creationId xmlns:a16="http://schemas.microsoft.com/office/drawing/2014/main" id="{E7106D21-D90A-4596-B7B0-0C5C0EE7CC1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27495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5" name="Oval 224">
                <a:extLst>
                  <a:ext uri="{FF2B5EF4-FFF2-40B4-BE49-F238E27FC236}">
                    <a16:creationId xmlns:a16="http://schemas.microsoft.com/office/drawing/2014/main" id="{FA088E96-4579-4380-B926-09D1657C2FC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19390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6" name="Oval 225">
                <a:extLst>
                  <a:ext uri="{FF2B5EF4-FFF2-40B4-BE49-F238E27FC236}">
                    <a16:creationId xmlns:a16="http://schemas.microsoft.com/office/drawing/2014/main" id="{7D16094E-E5C1-4CAD-8894-D3DFECC2BD4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2117418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7" name="Oval 226">
                <a:extLst>
                  <a:ext uri="{FF2B5EF4-FFF2-40B4-BE49-F238E27FC236}">
                    <a16:creationId xmlns:a16="http://schemas.microsoft.com/office/drawing/2014/main" id="{482C594D-48A6-4605-B899-961CA58BEBD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230033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8" name="Oval 227">
                <a:extLst>
                  <a:ext uri="{FF2B5EF4-FFF2-40B4-BE49-F238E27FC236}">
                    <a16:creationId xmlns:a16="http://schemas.microsoft.com/office/drawing/2014/main" id="{AD61D716-CFF6-4D87-A7D6-6323FC911D9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214891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9" name="Oval 228">
                <a:extLst>
                  <a:ext uri="{FF2B5EF4-FFF2-40B4-BE49-F238E27FC236}">
                    <a16:creationId xmlns:a16="http://schemas.microsoft.com/office/drawing/2014/main" id="{9A5F8E43-F547-4AFA-9EDD-37BADCEFF99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23263" y="1772003"/>
                <a:ext cx="119234" cy="11923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30" name="Group 229">
              <a:extLst>
                <a:ext uri="{FF2B5EF4-FFF2-40B4-BE49-F238E27FC236}">
                  <a16:creationId xmlns:a16="http://schemas.microsoft.com/office/drawing/2014/main" id="{32E84229-C493-4A26-BBAB-D4C3EE894434}"/>
                </a:ext>
              </a:extLst>
            </p:cNvPr>
            <p:cNvGrpSpPr/>
            <p:nvPr/>
          </p:nvGrpSpPr>
          <p:grpSpPr>
            <a:xfrm>
              <a:off x="10373000" y="1850519"/>
              <a:ext cx="900831" cy="900831"/>
              <a:chOff x="2504473" y="3067760"/>
              <a:chExt cx="1081690" cy="1081690"/>
            </a:xfrm>
          </p:grpSpPr>
          <p:grpSp>
            <p:nvGrpSpPr>
              <p:cNvPr id="231" name="Group 230">
                <a:extLst>
                  <a:ext uri="{FF2B5EF4-FFF2-40B4-BE49-F238E27FC236}">
                    <a16:creationId xmlns:a16="http://schemas.microsoft.com/office/drawing/2014/main" id="{433299BA-1430-4178-B53A-6CA1A46AC447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233" name="Diamond 232">
                  <a:extLst>
                    <a:ext uri="{FF2B5EF4-FFF2-40B4-BE49-F238E27FC236}">
                      <a16:creationId xmlns:a16="http://schemas.microsoft.com/office/drawing/2014/main" id="{6109B68D-B30F-48A5-8969-5E8FD8212777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4" name="Rectangle 233">
                  <a:extLst>
                    <a:ext uri="{FF2B5EF4-FFF2-40B4-BE49-F238E27FC236}">
                      <a16:creationId xmlns:a16="http://schemas.microsoft.com/office/drawing/2014/main" id="{5F8ABF95-07C9-424A-B1A2-26C58E909644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5" name="Rectangle 234">
                  <a:extLst>
                    <a:ext uri="{FF2B5EF4-FFF2-40B4-BE49-F238E27FC236}">
                      <a16:creationId xmlns:a16="http://schemas.microsoft.com/office/drawing/2014/main" id="{2CD4053E-8793-4879-8035-6FA2B1AB444E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36" name="Straight Connector 235">
                  <a:extLst>
                    <a:ext uri="{FF2B5EF4-FFF2-40B4-BE49-F238E27FC236}">
                      <a16:creationId xmlns:a16="http://schemas.microsoft.com/office/drawing/2014/main" id="{537EBEA8-4919-45BD-9FCE-34AF184C96F2}"/>
                    </a:ext>
                  </a:extLst>
                </p:cNvPr>
                <p:cNvCxnSpPr>
                  <a:cxnSpLocks/>
                  <a:stCxn id="235" idx="2"/>
                  <a:endCxn id="233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7" name="Straight Connector 50">
                  <a:extLst>
                    <a:ext uri="{FF2B5EF4-FFF2-40B4-BE49-F238E27FC236}">
                      <a16:creationId xmlns:a16="http://schemas.microsoft.com/office/drawing/2014/main" id="{28CE2BA5-AAFB-435E-A16C-401264726C02}"/>
                    </a:ext>
                  </a:extLst>
                </p:cNvPr>
                <p:cNvCxnSpPr>
                  <a:cxnSpLocks/>
                  <a:stCxn id="233" idx="1"/>
                  <a:endCxn id="234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8" name="Straight Connector 50">
                  <a:extLst>
                    <a:ext uri="{FF2B5EF4-FFF2-40B4-BE49-F238E27FC236}">
                      <a16:creationId xmlns:a16="http://schemas.microsoft.com/office/drawing/2014/main" id="{291A51B0-8CAB-49C9-AD3E-BE6296DE8726}"/>
                    </a:ext>
                  </a:extLst>
                </p:cNvPr>
                <p:cNvCxnSpPr>
                  <a:cxnSpLocks/>
                  <a:stCxn id="233" idx="3"/>
                  <a:endCxn id="239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9" name="Rectangle 238">
                  <a:extLst>
                    <a:ext uri="{FF2B5EF4-FFF2-40B4-BE49-F238E27FC236}">
                      <a16:creationId xmlns:a16="http://schemas.microsoft.com/office/drawing/2014/main" id="{B487B8C2-3501-493A-A78F-C05D340AB99A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32" name="Oval 231">
                <a:extLst>
                  <a:ext uri="{FF2B5EF4-FFF2-40B4-BE49-F238E27FC236}">
                    <a16:creationId xmlns:a16="http://schemas.microsoft.com/office/drawing/2014/main" id="{5B199776-9473-4E63-B28D-370F7B336BF2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240" name="Straight Arrow Connector 239">
              <a:extLst>
                <a:ext uri="{FF2B5EF4-FFF2-40B4-BE49-F238E27FC236}">
                  <a16:creationId xmlns:a16="http://schemas.microsoft.com/office/drawing/2014/main" id="{2923773E-1019-4E94-8BEB-204359A4412C}"/>
                </a:ext>
              </a:extLst>
            </p:cNvPr>
            <p:cNvCxnSpPr>
              <a:cxnSpLocks/>
              <a:stCxn id="203" idx="6"/>
              <a:endCxn id="232" idx="2"/>
            </p:cNvCxnSpPr>
            <p:nvPr/>
          </p:nvCxnSpPr>
          <p:spPr>
            <a:xfrm>
              <a:off x="9523269" y="230093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41" name="Group 240">
              <a:extLst>
                <a:ext uri="{FF2B5EF4-FFF2-40B4-BE49-F238E27FC236}">
                  <a16:creationId xmlns:a16="http://schemas.microsoft.com/office/drawing/2014/main" id="{0C30C62C-279F-4E7A-A5E2-15FCC747842D}"/>
                </a:ext>
              </a:extLst>
            </p:cNvPr>
            <p:cNvGrpSpPr/>
            <p:nvPr/>
          </p:nvGrpSpPr>
          <p:grpSpPr>
            <a:xfrm>
              <a:off x="8208833" y="3111507"/>
              <a:ext cx="1314436" cy="1314436"/>
              <a:chOff x="4465389" y="3111507"/>
              <a:chExt cx="1314436" cy="1314436"/>
            </a:xfrm>
          </p:grpSpPr>
          <p:sp>
            <p:nvSpPr>
              <p:cNvPr id="242" name="Oval 241">
                <a:extLst>
                  <a:ext uri="{FF2B5EF4-FFF2-40B4-BE49-F238E27FC236}">
                    <a16:creationId xmlns:a16="http://schemas.microsoft.com/office/drawing/2014/main" id="{4FB2B8C2-0CFB-4997-B8EA-F801ACCD941B}"/>
                  </a:ext>
                </a:extLst>
              </p:cNvPr>
              <p:cNvSpPr/>
              <p:nvPr/>
            </p:nvSpPr>
            <p:spPr>
              <a:xfrm>
                <a:off x="4465389" y="311150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3" name="Oval 242">
                <a:extLst>
                  <a:ext uri="{FF2B5EF4-FFF2-40B4-BE49-F238E27FC236}">
                    <a16:creationId xmlns:a16="http://schemas.microsoft.com/office/drawing/2014/main" id="{9C036F15-AD56-43A6-B677-800CC4C5E83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84717" y="3481579"/>
                <a:ext cx="104584" cy="10458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4" name="Oval 243">
                <a:extLst>
                  <a:ext uri="{FF2B5EF4-FFF2-40B4-BE49-F238E27FC236}">
                    <a16:creationId xmlns:a16="http://schemas.microsoft.com/office/drawing/2014/main" id="{C9422FBC-F362-4DF6-A006-09348B3AE8D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70161" y="337023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5" name="Oval 244">
                <a:extLst>
                  <a:ext uri="{FF2B5EF4-FFF2-40B4-BE49-F238E27FC236}">
                    <a16:creationId xmlns:a16="http://schemas.microsoft.com/office/drawing/2014/main" id="{C6899615-FD4F-4C6E-A871-9C2F36079BA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355644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6" name="Oval 245">
                <a:extLst>
                  <a:ext uri="{FF2B5EF4-FFF2-40B4-BE49-F238E27FC236}">
                    <a16:creationId xmlns:a16="http://schemas.microsoft.com/office/drawing/2014/main" id="{6CD862E3-3B38-4B77-A1B1-4F6A34F732A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371096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7" name="Oval 246">
                <a:extLst>
                  <a:ext uri="{FF2B5EF4-FFF2-40B4-BE49-F238E27FC236}">
                    <a16:creationId xmlns:a16="http://schemas.microsoft.com/office/drawing/2014/main" id="{CDA8A83D-0390-4FF3-8C7E-8669F8009D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391044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8" name="Oval 247">
                <a:extLst>
                  <a:ext uri="{FF2B5EF4-FFF2-40B4-BE49-F238E27FC236}">
                    <a16:creationId xmlns:a16="http://schemas.microsoft.com/office/drawing/2014/main" id="{1B413849-FEEC-4183-863E-7ABD2D00B81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3752881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9" name="Oval 248">
                <a:extLst>
                  <a:ext uri="{FF2B5EF4-FFF2-40B4-BE49-F238E27FC236}">
                    <a16:creationId xmlns:a16="http://schemas.microsoft.com/office/drawing/2014/main" id="{76B8ADA2-11DC-4CF7-8CC1-1466DA3CDA9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50847" y="3481579"/>
                <a:ext cx="104584" cy="10458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0" name="Oval 249">
                <a:extLst>
                  <a:ext uri="{FF2B5EF4-FFF2-40B4-BE49-F238E27FC236}">
                    <a16:creationId xmlns:a16="http://schemas.microsoft.com/office/drawing/2014/main" id="{F4446F52-293E-4664-8232-074A295E5B1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330387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1" name="Oval 250">
                <a:extLst>
                  <a:ext uri="{FF2B5EF4-FFF2-40B4-BE49-F238E27FC236}">
                    <a16:creationId xmlns:a16="http://schemas.microsoft.com/office/drawing/2014/main" id="{D0DA684B-5F0E-4D47-9941-7DF279DFCA3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323628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2" name="Oval 251">
                <a:extLst>
                  <a:ext uri="{FF2B5EF4-FFF2-40B4-BE49-F238E27FC236}">
                    <a16:creationId xmlns:a16="http://schemas.microsoft.com/office/drawing/2014/main" id="{F833E982-4CD1-451E-B372-FF8102BEEA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357179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3" name="Oval 252">
                <a:extLst>
                  <a:ext uri="{FF2B5EF4-FFF2-40B4-BE49-F238E27FC236}">
                    <a16:creationId xmlns:a16="http://schemas.microsoft.com/office/drawing/2014/main" id="{3AE19E66-E1D8-44D6-83AF-DA4D7D613D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340365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42F5F658-FDF7-4656-AFDD-EF2AE2494F6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369511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5" name="Oval 254">
                <a:extLst>
                  <a:ext uri="{FF2B5EF4-FFF2-40B4-BE49-F238E27FC236}">
                    <a16:creationId xmlns:a16="http://schemas.microsoft.com/office/drawing/2014/main" id="{05AAB32D-A796-47F9-8E00-DFD7DB8FD6C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3730545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E09CBFD1-46E1-4F2E-B8FD-7899FEA2568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390894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7" name="Oval 256">
                <a:extLst>
                  <a:ext uri="{FF2B5EF4-FFF2-40B4-BE49-F238E27FC236}">
                    <a16:creationId xmlns:a16="http://schemas.microsoft.com/office/drawing/2014/main" id="{4A5998BD-844F-445F-BC87-66ACD4680A8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3931" y="3915627"/>
                <a:ext cx="70474" cy="7047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8" name="Oval 257">
                <a:extLst>
                  <a:ext uri="{FF2B5EF4-FFF2-40B4-BE49-F238E27FC236}">
                    <a16:creationId xmlns:a16="http://schemas.microsoft.com/office/drawing/2014/main" id="{1AE1CAD4-8B65-4BA0-94F5-CD026847A45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4027559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9" name="Oval 258">
                <a:extLst>
                  <a:ext uri="{FF2B5EF4-FFF2-40B4-BE49-F238E27FC236}">
                    <a16:creationId xmlns:a16="http://schemas.microsoft.com/office/drawing/2014/main" id="{DBF8729A-9980-49B8-8CDD-907151EE3B6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387563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0" name="Oval 259">
                <a:extLst>
                  <a:ext uri="{FF2B5EF4-FFF2-40B4-BE49-F238E27FC236}">
                    <a16:creationId xmlns:a16="http://schemas.microsoft.com/office/drawing/2014/main" id="{D0070884-063A-4DAE-9B62-1B823F35203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95091" y="404444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1" name="Oval 260">
                <a:extLst>
                  <a:ext uri="{FF2B5EF4-FFF2-40B4-BE49-F238E27FC236}">
                    <a16:creationId xmlns:a16="http://schemas.microsoft.com/office/drawing/2014/main" id="{CA721057-1181-4C1E-82B6-B3253CBC26F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4069477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2" name="Oval 261">
                <a:extLst>
                  <a:ext uri="{FF2B5EF4-FFF2-40B4-BE49-F238E27FC236}">
                    <a16:creationId xmlns:a16="http://schemas.microsoft.com/office/drawing/2014/main" id="{CADF490F-DFD6-4C5D-A0C2-32AC756E02E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414120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3" name="Oval 262">
                <a:extLst>
                  <a:ext uri="{FF2B5EF4-FFF2-40B4-BE49-F238E27FC236}">
                    <a16:creationId xmlns:a16="http://schemas.microsoft.com/office/drawing/2014/main" id="{218E4FFE-0FF9-4492-9F93-8456A8C614D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9436" y="421733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4" name="Oval 263">
                <a:extLst>
                  <a:ext uri="{FF2B5EF4-FFF2-40B4-BE49-F238E27FC236}">
                    <a16:creationId xmlns:a16="http://schemas.microsoft.com/office/drawing/2014/main" id="{64670D0D-11D2-4F41-AD53-CECE1BCF2D0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340680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5" name="Oval 264">
                <a:extLst>
                  <a:ext uri="{FF2B5EF4-FFF2-40B4-BE49-F238E27FC236}">
                    <a16:creationId xmlns:a16="http://schemas.microsoft.com/office/drawing/2014/main" id="{1263B709-BA63-4090-998F-FE05991737F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9510" y="3591889"/>
                <a:ext cx="70474" cy="7047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6" name="Oval 265">
                <a:extLst>
                  <a:ext uri="{FF2B5EF4-FFF2-40B4-BE49-F238E27FC236}">
                    <a16:creationId xmlns:a16="http://schemas.microsoft.com/office/drawing/2014/main" id="{A2DC1C59-A3A4-4524-93CE-B58B4CCD0A8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85754" y="3768122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7" name="Oval 266">
                <a:extLst>
                  <a:ext uri="{FF2B5EF4-FFF2-40B4-BE49-F238E27FC236}">
                    <a16:creationId xmlns:a16="http://schemas.microsoft.com/office/drawing/2014/main" id="{0F430E3D-A40F-4E98-9646-56658ADCA7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17077" y="3606333"/>
                <a:ext cx="104584" cy="10458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8" name="Oval 267">
                <a:extLst>
                  <a:ext uri="{FF2B5EF4-FFF2-40B4-BE49-F238E27FC236}">
                    <a16:creationId xmlns:a16="http://schemas.microsoft.com/office/drawing/2014/main" id="{72AE426F-5B1D-4803-8582-FE04F224417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325749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69" name="Group 268">
              <a:extLst>
                <a:ext uri="{FF2B5EF4-FFF2-40B4-BE49-F238E27FC236}">
                  <a16:creationId xmlns:a16="http://schemas.microsoft.com/office/drawing/2014/main" id="{BE5EFF47-DE35-4E22-86E9-761F25AF90F7}"/>
                </a:ext>
              </a:extLst>
            </p:cNvPr>
            <p:cNvGrpSpPr/>
            <p:nvPr/>
          </p:nvGrpSpPr>
          <p:grpSpPr>
            <a:xfrm>
              <a:off x="10373000" y="3318309"/>
              <a:ext cx="900831" cy="900831"/>
              <a:chOff x="2504473" y="3067760"/>
              <a:chExt cx="1081690" cy="1081690"/>
            </a:xfrm>
          </p:grpSpPr>
          <p:grpSp>
            <p:nvGrpSpPr>
              <p:cNvPr id="270" name="Group 269">
                <a:extLst>
                  <a:ext uri="{FF2B5EF4-FFF2-40B4-BE49-F238E27FC236}">
                    <a16:creationId xmlns:a16="http://schemas.microsoft.com/office/drawing/2014/main" id="{5B1B8247-7888-490A-B3A2-B051ED7EB07F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272" name="Diamond 271">
                  <a:extLst>
                    <a:ext uri="{FF2B5EF4-FFF2-40B4-BE49-F238E27FC236}">
                      <a16:creationId xmlns:a16="http://schemas.microsoft.com/office/drawing/2014/main" id="{4D0667A9-8203-42AB-BD46-F94BCBD05E51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73" name="Rectangle 272">
                  <a:extLst>
                    <a:ext uri="{FF2B5EF4-FFF2-40B4-BE49-F238E27FC236}">
                      <a16:creationId xmlns:a16="http://schemas.microsoft.com/office/drawing/2014/main" id="{A4B3B287-5AF0-449D-B698-D1560D6CE9F8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74" name="Rectangle 273">
                  <a:extLst>
                    <a:ext uri="{FF2B5EF4-FFF2-40B4-BE49-F238E27FC236}">
                      <a16:creationId xmlns:a16="http://schemas.microsoft.com/office/drawing/2014/main" id="{E19382A9-AB03-4AFB-AFC4-329DFCF4088C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75" name="Straight Connector 274">
                  <a:extLst>
                    <a:ext uri="{FF2B5EF4-FFF2-40B4-BE49-F238E27FC236}">
                      <a16:creationId xmlns:a16="http://schemas.microsoft.com/office/drawing/2014/main" id="{D6312758-C6F3-4799-BFD6-438C669D3618}"/>
                    </a:ext>
                  </a:extLst>
                </p:cNvPr>
                <p:cNvCxnSpPr>
                  <a:cxnSpLocks/>
                  <a:stCxn id="274" idx="2"/>
                  <a:endCxn id="272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Straight Connector 50">
                  <a:extLst>
                    <a:ext uri="{FF2B5EF4-FFF2-40B4-BE49-F238E27FC236}">
                      <a16:creationId xmlns:a16="http://schemas.microsoft.com/office/drawing/2014/main" id="{FE86776E-5F7C-40F0-8448-67BBB2A2DFE8}"/>
                    </a:ext>
                  </a:extLst>
                </p:cNvPr>
                <p:cNvCxnSpPr>
                  <a:cxnSpLocks/>
                  <a:stCxn id="272" idx="1"/>
                  <a:endCxn id="273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" name="Straight Connector 50">
                  <a:extLst>
                    <a:ext uri="{FF2B5EF4-FFF2-40B4-BE49-F238E27FC236}">
                      <a16:creationId xmlns:a16="http://schemas.microsoft.com/office/drawing/2014/main" id="{675EE31B-2E2A-42AC-A3A4-0394A3127A5C}"/>
                    </a:ext>
                  </a:extLst>
                </p:cNvPr>
                <p:cNvCxnSpPr>
                  <a:cxnSpLocks/>
                  <a:stCxn id="272" idx="3"/>
                  <a:endCxn id="278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8" name="Rectangle 277">
                  <a:extLst>
                    <a:ext uri="{FF2B5EF4-FFF2-40B4-BE49-F238E27FC236}">
                      <a16:creationId xmlns:a16="http://schemas.microsoft.com/office/drawing/2014/main" id="{69AA28BC-E0FE-4FAE-B1DD-25658FB2B7CB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71" name="Oval 270">
                <a:extLst>
                  <a:ext uri="{FF2B5EF4-FFF2-40B4-BE49-F238E27FC236}">
                    <a16:creationId xmlns:a16="http://schemas.microsoft.com/office/drawing/2014/main" id="{F62EA844-4340-45B9-B2BF-5099B6B5C993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279" name="Straight Arrow Connector 278">
              <a:extLst>
                <a:ext uri="{FF2B5EF4-FFF2-40B4-BE49-F238E27FC236}">
                  <a16:creationId xmlns:a16="http://schemas.microsoft.com/office/drawing/2014/main" id="{4297378A-DFF0-4A17-9B11-6E045D5BDF70}"/>
                </a:ext>
              </a:extLst>
            </p:cNvPr>
            <p:cNvCxnSpPr>
              <a:cxnSpLocks/>
              <a:stCxn id="242" idx="6"/>
              <a:endCxn id="271" idx="2"/>
            </p:cNvCxnSpPr>
            <p:nvPr/>
          </p:nvCxnSpPr>
          <p:spPr>
            <a:xfrm>
              <a:off x="9523269" y="376872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0" name="Group 279">
              <a:extLst>
                <a:ext uri="{FF2B5EF4-FFF2-40B4-BE49-F238E27FC236}">
                  <a16:creationId xmlns:a16="http://schemas.microsoft.com/office/drawing/2014/main" id="{1CB105A2-7945-480C-B5A2-54834C686931}"/>
                </a:ext>
              </a:extLst>
            </p:cNvPr>
            <p:cNvGrpSpPr/>
            <p:nvPr/>
          </p:nvGrpSpPr>
          <p:grpSpPr>
            <a:xfrm>
              <a:off x="8208833" y="4579297"/>
              <a:ext cx="1314436" cy="1314436"/>
              <a:chOff x="4465389" y="4579297"/>
              <a:chExt cx="1314436" cy="1314436"/>
            </a:xfrm>
          </p:grpSpPr>
          <p:sp>
            <p:nvSpPr>
              <p:cNvPr id="281" name="Oval 280">
                <a:extLst>
                  <a:ext uri="{FF2B5EF4-FFF2-40B4-BE49-F238E27FC236}">
                    <a16:creationId xmlns:a16="http://schemas.microsoft.com/office/drawing/2014/main" id="{960B81C2-EE04-4E17-A562-31014516D831}"/>
                  </a:ext>
                </a:extLst>
              </p:cNvPr>
              <p:cNvSpPr/>
              <p:nvPr/>
            </p:nvSpPr>
            <p:spPr>
              <a:xfrm>
                <a:off x="4465389" y="4579297"/>
                <a:ext cx="1314436" cy="1314436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2" name="Oval 281">
                <a:extLst>
                  <a:ext uri="{FF2B5EF4-FFF2-40B4-BE49-F238E27FC236}">
                    <a16:creationId xmlns:a16="http://schemas.microsoft.com/office/drawing/2014/main" id="{F736437C-0045-4CB9-9BF9-651C9712351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76076" y="4940728"/>
                <a:ext cx="121866" cy="12186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3" name="Oval 282">
                <a:extLst>
                  <a:ext uri="{FF2B5EF4-FFF2-40B4-BE49-F238E27FC236}">
                    <a16:creationId xmlns:a16="http://schemas.microsoft.com/office/drawing/2014/main" id="{1919AF26-BBC7-48E3-B672-CBEF4B3C22D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51146" y="4819011"/>
                <a:ext cx="121866" cy="12186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4" name="Oval 283">
                <a:extLst>
                  <a:ext uri="{FF2B5EF4-FFF2-40B4-BE49-F238E27FC236}">
                    <a16:creationId xmlns:a16="http://schemas.microsoft.com/office/drawing/2014/main" id="{A598D447-75F8-41C8-A2B9-63DA997C0FC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35729" y="5024230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5" name="Oval 284">
                <a:extLst>
                  <a:ext uri="{FF2B5EF4-FFF2-40B4-BE49-F238E27FC236}">
                    <a16:creationId xmlns:a16="http://schemas.microsoft.com/office/drawing/2014/main" id="{35CE37BB-10AD-4A7F-816B-366CD59C48F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33927" y="517875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6" name="Oval 285">
                <a:extLst>
                  <a:ext uri="{FF2B5EF4-FFF2-40B4-BE49-F238E27FC236}">
                    <a16:creationId xmlns:a16="http://schemas.microsoft.com/office/drawing/2014/main" id="{A6C3C955-6F58-43BF-A18F-1A9929516D9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93811" y="5378233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7" name="Oval 286">
                <a:extLst>
                  <a:ext uri="{FF2B5EF4-FFF2-40B4-BE49-F238E27FC236}">
                    <a16:creationId xmlns:a16="http://schemas.microsoft.com/office/drawing/2014/main" id="{31B9AA77-4A1A-425B-B754-659DAD091EC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747728" y="5220671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8" name="Oval 287">
                <a:extLst>
                  <a:ext uri="{FF2B5EF4-FFF2-40B4-BE49-F238E27FC236}">
                    <a16:creationId xmlns:a16="http://schemas.microsoft.com/office/drawing/2014/main" id="{EFE02629-AD8D-4BCE-87F9-35D4F03AEAA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61221" y="4959743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9" name="Oval 288">
                <a:extLst>
                  <a:ext uri="{FF2B5EF4-FFF2-40B4-BE49-F238E27FC236}">
                    <a16:creationId xmlns:a16="http://schemas.microsoft.com/office/drawing/2014/main" id="{6844AC29-B6F7-4485-952A-313EE1C2932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7839" y="477166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0" name="Oval 289">
                <a:extLst>
                  <a:ext uri="{FF2B5EF4-FFF2-40B4-BE49-F238E27FC236}">
                    <a16:creationId xmlns:a16="http://schemas.microsoft.com/office/drawing/2014/main" id="{82045D23-3839-4771-93C6-07B21784418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14003" y="470407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1" name="Oval 290">
                <a:extLst>
                  <a:ext uri="{FF2B5EF4-FFF2-40B4-BE49-F238E27FC236}">
                    <a16:creationId xmlns:a16="http://schemas.microsoft.com/office/drawing/2014/main" id="{985F82B8-2B2C-4A8E-AC9E-AD4C72C7831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2102" y="503958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2" name="Oval 291">
                <a:extLst>
                  <a:ext uri="{FF2B5EF4-FFF2-40B4-BE49-F238E27FC236}">
                    <a16:creationId xmlns:a16="http://schemas.microsoft.com/office/drawing/2014/main" id="{FCEB9828-13C2-4A36-ACB1-31EA6F48721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9353" y="4871449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3" name="Oval 292">
                <a:extLst>
                  <a:ext uri="{FF2B5EF4-FFF2-40B4-BE49-F238E27FC236}">
                    <a16:creationId xmlns:a16="http://schemas.microsoft.com/office/drawing/2014/main" id="{49858437-3807-45F4-A662-111C4D674B4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69577" y="516290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4" name="Oval 293">
                <a:extLst>
                  <a:ext uri="{FF2B5EF4-FFF2-40B4-BE49-F238E27FC236}">
                    <a16:creationId xmlns:a16="http://schemas.microsoft.com/office/drawing/2014/main" id="{8B993A02-B1DE-4638-9AF0-97DC2EBC341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5198335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5" name="Oval 294">
                <a:extLst>
                  <a:ext uri="{FF2B5EF4-FFF2-40B4-BE49-F238E27FC236}">
                    <a16:creationId xmlns:a16="http://schemas.microsoft.com/office/drawing/2014/main" id="{F9324773-E34C-4B3E-A1BC-A46F38CF3CD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92801" y="5376736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6" name="Oval 295">
                <a:extLst>
                  <a:ext uri="{FF2B5EF4-FFF2-40B4-BE49-F238E27FC236}">
                    <a16:creationId xmlns:a16="http://schemas.microsoft.com/office/drawing/2014/main" id="{9161D6E1-B080-4B91-8088-96500B1C982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37250" y="537673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7" name="Oval 296">
                <a:extLst>
                  <a:ext uri="{FF2B5EF4-FFF2-40B4-BE49-F238E27FC236}">
                    <a16:creationId xmlns:a16="http://schemas.microsoft.com/office/drawing/2014/main" id="{E5CA1D3C-0A77-4598-A73A-7915544B8CA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88134" y="5495349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8" name="Oval 297">
                <a:extLst>
                  <a:ext uri="{FF2B5EF4-FFF2-40B4-BE49-F238E27FC236}">
                    <a16:creationId xmlns:a16="http://schemas.microsoft.com/office/drawing/2014/main" id="{BFAEC0C9-00F0-47FE-9C85-2131D96A3DF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2781" y="5343420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9" name="Oval 298">
                <a:extLst>
                  <a:ext uri="{FF2B5EF4-FFF2-40B4-BE49-F238E27FC236}">
                    <a16:creationId xmlns:a16="http://schemas.microsoft.com/office/drawing/2014/main" id="{706EBD3F-5DEC-405A-8C16-EE15621543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76076" y="5493215"/>
                <a:ext cx="121866" cy="12186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0" name="Oval 299">
                <a:extLst>
                  <a:ext uri="{FF2B5EF4-FFF2-40B4-BE49-F238E27FC236}">
                    <a16:creationId xmlns:a16="http://schemas.microsoft.com/office/drawing/2014/main" id="{792BFDE1-1CA5-4629-B8CF-5B7996D81AE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06394" y="553726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1" name="Oval 300">
                <a:extLst>
                  <a:ext uri="{FF2B5EF4-FFF2-40B4-BE49-F238E27FC236}">
                    <a16:creationId xmlns:a16="http://schemas.microsoft.com/office/drawing/2014/main" id="{77AF3718-A433-4C07-9FDA-3AEC275019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58514" y="5608996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2" name="Oval 301">
                <a:extLst>
                  <a:ext uri="{FF2B5EF4-FFF2-40B4-BE49-F238E27FC236}">
                    <a16:creationId xmlns:a16="http://schemas.microsoft.com/office/drawing/2014/main" id="{D724D371-182C-40D9-999F-757BBE28E62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70421" y="5666105"/>
                <a:ext cx="121866" cy="12186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3" name="Oval 302">
                <a:extLst>
                  <a:ext uri="{FF2B5EF4-FFF2-40B4-BE49-F238E27FC236}">
                    <a16:creationId xmlns:a16="http://schemas.microsoft.com/office/drawing/2014/main" id="{2FBA57C9-AD5F-4EB8-ABD1-1784BC47DE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43615" y="4874597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4" name="Oval 303">
                <a:extLst>
                  <a:ext uri="{FF2B5EF4-FFF2-40B4-BE49-F238E27FC236}">
                    <a16:creationId xmlns:a16="http://schemas.microsoft.com/office/drawing/2014/main" id="{B875513C-2569-452C-9C4B-B277ABAB7E2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52829" y="5052998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5" name="Oval 304">
                <a:extLst>
                  <a:ext uri="{FF2B5EF4-FFF2-40B4-BE49-F238E27FC236}">
                    <a16:creationId xmlns:a16="http://schemas.microsoft.com/office/drawing/2014/main" id="{51F07D04-4110-4BD1-9A9A-6E4C0FA10D1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66739" y="5216897"/>
                <a:ext cx="121866" cy="12186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6" name="Oval 305">
                <a:extLst>
                  <a:ext uri="{FF2B5EF4-FFF2-40B4-BE49-F238E27FC236}">
                    <a16:creationId xmlns:a16="http://schemas.microsoft.com/office/drawing/2014/main" id="{AA02928E-7014-455C-9613-6F369343C37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7451" y="5084497"/>
                <a:ext cx="83836" cy="83836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7" name="Oval 306">
                <a:extLst>
                  <a:ext uri="{FF2B5EF4-FFF2-40B4-BE49-F238E27FC236}">
                    <a16:creationId xmlns:a16="http://schemas.microsoft.com/office/drawing/2014/main" id="{C5B9D069-E2FD-4069-A3B7-D0137B0605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340962" y="4725282"/>
                <a:ext cx="83836" cy="838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08" name="Group 307">
              <a:extLst>
                <a:ext uri="{FF2B5EF4-FFF2-40B4-BE49-F238E27FC236}">
                  <a16:creationId xmlns:a16="http://schemas.microsoft.com/office/drawing/2014/main" id="{98FFAED1-167B-40A7-934E-96E6047102E0}"/>
                </a:ext>
              </a:extLst>
            </p:cNvPr>
            <p:cNvGrpSpPr/>
            <p:nvPr/>
          </p:nvGrpSpPr>
          <p:grpSpPr>
            <a:xfrm>
              <a:off x="10373000" y="4786099"/>
              <a:ext cx="900831" cy="900831"/>
              <a:chOff x="2504473" y="3067760"/>
              <a:chExt cx="1081690" cy="1081690"/>
            </a:xfrm>
          </p:grpSpPr>
          <p:grpSp>
            <p:nvGrpSpPr>
              <p:cNvPr id="309" name="Group 308">
                <a:extLst>
                  <a:ext uri="{FF2B5EF4-FFF2-40B4-BE49-F238E27FC236}">
                    <a16:creationId xmlns:a16="http://schemas.microsoft.com/office/drawing/2014/main" id="{461C5703-5277-486F-8E93-6313C0873AE0}"/>
                  </a:ext>
                </a:extLst>
              </p:cNvPr>
              <p:cNvGrpSpPr/>
              <p:nvPr/>
            </p:nvGrpSpPr>
            <p:grpSpPr>
              <a:xfrm>
                <a:off x="2807086" y="3164143"/>
                <a:ext cx="476464" cy="888924"/>
                <a:chOff x="2689246" y="2890507"/>
                <a:chExt cx="800100" cy="1492719"/>
              </a:xfrm>
            </p:grpSpPr>
            <p:sp>
              <p:nvSpPr>
                <p:cNvPr id="311" name="Diamond 310">
                  <a:extLst>
                    <a:ext uri="{FF2B5EF4-FFF2-40B4-BE49-F238E27FC236}">
                      <a16:creationId xmlns:a16="http://schemas.microsoft.com/office/drawing/2014/main" id="{142258E6-B048-4493-B490-C7F1221FFE81}"/>
                    </a:ext>
                  </a:extLst>
                </p:cNvPr>
                <p:cNvSpPr/>
                <p:nvPr/>
              </p:nvSpPr>
              <p:spPr>
                <a:xfrm>
                  <a:off x="2689246" y="3083047"/>
                  <a:ext cx="800100" cy="457200"/>
                </a:xfrm>
                <a:prstGeom prst="diamond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12" name="Rectangle 311">
                  <a:extLst>
                    <a:ext uri="{FF2B5EF4-FFF2-40B4-BE49-F238E27FC236}">
                      <a16:creationId xmlns:a16="http://schemas.microsoft.com/office/drawing/2014/main" id="{31C472BA-630C-4409-B663-6E5419D1EF08}"/>
                    </a:ext>
                  </a:extLst>
                </p:cNvPr>
                <p:cNvSpPr/>
                <p:nvPr/>
              </p:nvSpPr>
              <p:spPr>
                <a:xfrm>
                  <a:off x="2689246" y="3667786"/>
                  <a:ext cx="800100" cy="348747"/>
                </a:xfrm>
                <a:prstGeom prst="rect">
                  <a:avLst/>
                </a:prstGeom>
                <a:noFill/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13" name="Rectangle 312">
                  <a:extLst>
                    <a:ext uri="{FF2B5EF4-FFF2-40B4-BE49-F238E27FC236}">
                      <a16:creationId xmlns:a16="http://schemas.microsoft.com/office/drawing/2014/main" id="{F53DB9A1-03C3-4FF4-816F-12175DDDDDB4}"/>
                    </a:ext>
                  </a:extLst>
                </p:cNvPr>
                <p:cNvSpPr/>
                <p:nvPr/>
              </p:nvSpPr>
              <p:spPr>
                <a:xfrm>
                  <a:off x="3043269" y="2890507"/>
                  <a:ext cx="92054" cy="65001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314" name="Straight Connector 313">
                  <a:extLst>
                    <a:ext uri="{FF2B5EF4-FFF2-40B4-BE49-F238E27FC236}">
                      <a16:creationId xmlns:a16="http://schemas.microsoft.com/office/drawing/2014/main" id="{0E4F04D7-BB35-44AF-B513-9F33652960C6}"/>
                    </a:ext>
                  </a:extLst>
                </p:cNvPr>
                <p:cNvCxnSpPr>
                  <a:cxnSpLocks/>
                  <a:stCxn id="313" idx="2"/>
                  <a:endCxn id="311" idx="0"/>
                </p:cNvCxnSpPr>
                <p:nvPr/>
              </p:nvCxnSpPr>
              <p:spPr>
                <a:xfrm>
                  <a:off x="3089296" y="2955508"/>
                  <a:ext cx="0" cy="127539"/>
                </a:xfrm>
                <a:prstGeom prst="line">
                  <a:avLst/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5" name="Straight Connector 50">
                  <a:extLst>
                    <a:ext uri="{FF2B5EF4-FFF2-40B4-BE49-F238E27FC236}">
                      <a16:creationId xmlns:a16="http://schemas.microsoft.com/office/drawing/2014/main" id="{EF97009D-51B7-4DBE-972C-EBC7E28F02A9}"/>
                    </a:ext>
                  </a:extLst>
                </p:cNvPr>
                <p:cNvCxnSpPr>
                  <a:cxnSpLocks/>
                  <a:stCxn id="311" idx="1"/>
                  <a:endCxn id="312" idx="1"/>
                </p:cNvCxnSpPr>
                <p:nvPr/>
              </p:nvCxnSpPr>
              <p:spPr>
                <a:xfrm rot="10800000" flipV="1">
                  <a:off x="2689246" y="3311646"/>
                  <a:ext cx="12700" cy="530513"/>
                </a:xfrm>
                <a:prstGeom prst="bentConnector3">
                  <a:avLst>
                    <a:gd name="adj1" fmla="val 1800000"/>
                  </a:avLst>
                </a:prstGeom>
                <a:ln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6" name="Straight Connector 50">
                  <a:extLst>
                    <a:ext uri="{FF2B5EF4-FFF2-40B4-BE49-F238E27FC236}">
                      <a16:creationId xmlns:a16="http://schemas.microsoft.com/office/drawing/2014/main" id="{3C92E582-30CC-4CBF-B060-06BA96D4B6A4}"/>
                    </a:ext>
                  </a:extLst>
                </p:cNvPr>
                <p:cNvCxnSpPr>
                  <a:cxnSpLocks/>
                  <a:stCxn id="311" idx="3"/>
                  <a:endCxn id="317" idx="0"/>
                </p:cNvCxnSpPr>
                <p:nvPr/>
              </p:nvCxnSpPr>
              <p:spPr>
                <a:xfrm flipH="1">
                  <a:off x="3089298" y="3311648"/>
                  <a:ext cx="400048" cy="1006577"/>
                </a:xfrm>
                <a:prstGeom prst="bentConnector4">
                  <a:avLst>
                    <a:gd name="adj1" fmla="val -42647"/>
                    <a:gd name="adj2" fmla="val 77775"/>
                  </a:avLst>
                </a:prstGeom>
                <a:ln>
                  <a:solidFill>
                    <a:schemeClr val="accent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7" name="Rectangle 316">
                  <a:extLst>
                    <a:ext uri="{FF2B5EF4-FFF2-40B4-BE49-F238E27FC236}">
                      <a16:creationId xmlns:a16="http://schemas.microsoft.com/office/drawing/2014/main" id="{CDA71565-D157-4557-ADC1-C07A29EF2B3C}"/>
                    </a:ext>
                  </a:extLst>
                </p:cNvPr>
                <p:cNvSpPr/>
                <p:nvPr/>
              </p:nvSpPr>
              <p:spPr>
                <a:xfrm>
                  <a:off x="3043270" y="4318224"/>
                  <a:ext cx="92055" cy="6500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10" name="Oval 309">
                <a:extLst>
                  <a:ext uri="{FF2B5EF4-FFF2-40B4-BE49-F238E27FC236}">
                    <a16:creationId xmlns:a16="http://schemas.microsoft.com/office/drawing/2014/main" id="{D2CE51F8-D0C1-4944-9602-2335271D5CD9}"/>
                  </a:ext>
                </a:extLst>
              </p:cNvPr>
              <p:cNvSpPr/>
              <p:nvPr/>
            </p:nvSpPr>
            <p:spPr>
              <a:xfrm>
                <a:off x="2504473" y="3067760"/>
                <a:ext cx="1081690" cy="1081690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318" name="Straight Arrow Connector 317">
              <a:extLst>
                <a:ext uri="{FF2B5EF4-FFF2-40B4-BE49-F238E27FC236}">
                  <a16:creationId xmlns:a16="http://schemas.microsoft.com/office/drawing/2014/main" id="{BAD3E221-F5DE-429D-89F2-9B17128D6AA4}"/>
                </a:ext>
              </a:extLst>
            </p:cNvPr>
            <p:cNvCxnSpPr>
              <a:cxnSpLocks/>
              <a:stCxn id="281" idx="6"/>
              <a:endCxn id="310" idx="2"/>
            </p:cNvCxnSpPr>
            <p:nvPr/>
          </p:nvCxnSpPr>
          <p:spPr>
            <a:xfrm>
              <a:off x="9523269" y="5236515"/>
              <a:ext cx="849731" cy="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2" name="Straight Arrow Connector 321">
              <a:extLst>
                <a:ext uri="{FF2B5EF4-FFF2-40B4-BE49-F238E27FC236}">
                  <a16:creationId xmlns:a16="http://schemas.microsoft.com/office/drawing/2014/main" id="{3F690DFB-3DF2-4B24-B201-AF5D9DACA3C3}"/>
                </a:ext>
              </a:extLst>
            </p:cNvPr>
            <p:cNvCxnSpPr>
              <a:endCxn id="242" idx="7"/>
            </p:cNvCxnSpPr>
            <p:nvPr/>
          </p:nvCxnSpPr>
          <p:spPr>
            <a:xfrm flipH="1">
              <a:off x="9330774" y="2757252"/>
              <a:ext cx="1469815" cy="546750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3" name="Straight Arrow Connector 322">
              <a:extLst>
                <a:ext uri="{FF2B5EF4-FFF2-40B4-BE49-F238E27FC236}">
                  <a16:creationId xmlns:a16="http://schemas.microsoft.com/office/drawing/2014/main" id="{B322D6F0-FB35-400D-BF09-54C0061FBD9E}"/>
                </a:ext>
              </a:extLst>
            </p:cNvPr>
            <p:cNvCxnSpPr>
              <a:cxnSpLocks/>
              <a:stCxn id="271" idx="4"/>
              <a:endCxn id="281" idx="7"/>
            </p:cNvCxnSpPr>
            <p:nvPr/>
          </p:nvCxnSpPr>
          <p:spPr>
            <a:xfrm flipH="1">
              <a:off x="9330774" y="4219140"/>
              <a:ext cx="1492642" cy="552652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6" name="TextBox 325">
              <a:extLst>
                <a:ext uri="{FF2B5EF4-FFF2-40B4-BE49-F238E27FC236}">
                  <a16:creationId xmlns:a16="http://schemas.microsoft.com/office/drawing/2014/main" id="{A411A920-E083-472F-AA64-27A33846ABE1}"/>
                </a:ext>
              </a:extLst>
            </p:cNvPr>
            <p:cNvSpPr txBox="1"/>
            <p:nvPr/>
          </p:nvSpPr>
          <p:spPr>
            <a:xfrm>
              <a:off x="9937327" y="2880917"/>
              <a:ext cx="205184" cy="246221"/>
            </a:xfrm>
            <a:prstGeom prst="rect">
              <a:avLst/>
            </a:prstGeom>
            <a:solidFill>
              <a:srgbClr val="CCCCCC"/>
            </a:solidFill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…</a:t>
              </a:r>
            </a:p>
          </p:txBody>
        </p:sp>
        <p:sp>
          <p:nvSpPr>
            <p:cNvPr id="327" name="TextBox 326">
              <a:extLst>
                <a:ext uri="{FF2B5EF4-FFF2-40B4-BE49-F238E27FC236}">
                  <a16:creationId xmlns:a16="http://schemas.microsoft.com/office/drawing/2014/main" id="{062D0EC7-A5DC-4E89-827B-5E19725BE74F}"/>
                </a:ext>
              </a:extLst>
            </p:cNvPr>
            <p:cNvSpPr txBox="1"/>
            <p:nvPr/>
          </p:nvSpPr>
          <p:spPr>
            <a:xfrm>
              <a:off x="9937327" y="4306966"/>
              <a:ext cx="205184" cy="246221"/>
            </a:xfrm>
            <a:prstGeom prst="rect">
              <a:avLst/>
            </a:prstGeom>
            <a:solidFill>
              <a:srgbClr val="CCCCCC"/>
            </a:solidFill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solidFill>
                    <a:schemeClr val="bg1"/>
                  </a:solidFill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>
                    <a:lumMod val="60000"/>
                    <a:lumOff val="40000"/>
                  </a:schemeClr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…</a:t>
              </a:r>
            </a:p>
          </p:txBody>
        </p:sp>
      </p:grpSp>
      <p:sp>
        <p:nvSpPr>
          <p:cNvPr id="319" name="Rounded Rectangle 318">
            <a:extLst>
              <a:ext uri="{FF2B5EF4-FFF2-40B4-BE49-F238E27FC236}">
                <a16:creationId xmlns:a16="http://schemas.microsoft.com/office/drawing/2014/main" id="{1EBF839D-8C4B-6447-B1FE-59BB99891B52}"/>
              </a:ext>
            </a:extLst>
          </p:cNvPr>
          <p:cNvSpPr/>
          <p:nvPr/>
        </p:nvSpPr>
        <p:spPr>
          <a:xfrm>
            <a:off x="8241792" y="6376416"/>
            <a:ext cx="3072384" cy="345059"/>
          </a:xfrm>
          <a:prstGeom prst="round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64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NAMES" val="True"/>
  <p:tag name="MTBTACCENT" val="Accent1"/>
  <p:tag name="THINKCELLUNDODONOTDELETE" val="0"/>
  <p:tag name="PREVIOUSNAME" val="C:\Users\Cady Liang\Box Sync\Analytics Academy Australia\Fonterra Academy\WIP materials\Day 1\05 Models - Descriptive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OEZLtoTgSHAVZIUW.y6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wVQaj2SyC9LpM8kdOS7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12IvAgRe6QHLzKysxEi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KcjzzUQoKrkopvGn7xL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rhJ7TeSrqLsVmAiHThn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0"/>
  <p:tag name="2LEVEL" val="10"/>
  <p:tag name="3LEVEL" val="5"/>
  <p:tag name="4LEVEL" val="2.5"/>
  <p:tag name="5LEVEL" val="1.25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AaNpPoSjqqIkorZ1t3H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Kar7NoSEiLCReJIOjzu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jUJJy7QS6rS1b1xXmB9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JRI7RiTG6bI.GGKhwo6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1LuxjESrG7.mGESOB8G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w3Rqa2QjO96j.Y5rWw_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TnUG6wTlas57JN_p_by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"/>
  <p:tag name="2LEVEL" val="1"/>
  <p:tag name="3LEVEL" val="0.5"/>
  <p:tag name="4LEVEL" val="0.25"/>
  <p:tag name="5LEVEL" val="0.12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Y552xASBeVKp8KA3M6f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XgLaf9QpCY51N1M4auN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">
          <a:solidFill>
            <a:schemeClr val="accent6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2.xml><?xml version="1.0" encoding="utf-8"?>
<a:theme xmlns:a="http://schemas.openxmlformats.org/drawingml/2006/main" name="Digital McKinsey - template black">
  <a:themeElements>
    <a:clrScheme name="Custom 1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mtClean="0">
            <a:solidFill>
              <a:schemeClr val="bg1"/>
            </a:solidFill>
          </a:defRPr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3.xml><?xml version="1.0" encoding="utf-8"?>
<a:theme xmlns:a="http://schemas.openxmlformats.org/drawingml/2006/main" name="1_Digital McKinsey - template black">
  <a:themeElements>
    <a:clrScheme name="Custom 1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mtClean="0">
            <a:solidFill>
              <a:schemeClr val="bg1"/>
            </a:solidFill>
          </a:defRPr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4.xml><?xml version="1.0" encoding="utf-8"?>
<a:theme xmlns:a="http://schemas.openxmlformats.org/drawingml/2006/main" name="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5.xml><?xml version="1.0" encoding="utf-8"?>
<a:theme xmlns:a="http://schemas.openxmlformats.org/drawingml/2006/main" name="1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">
          <a:solidFill>
            <a:schemeClr val="accent6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6.xml><?xml version="1.0" encoding="utf-8"?>
<a:theme xmlns:a="http://schemas.openxmlformats.org/drawingml/2006/main" name="2_Digital McKinsey - template black">
  <a:themeElements>
    <a:clrScheme name="Custom 1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mtClean="0">
            <a:solidFill>
              <a:schemeClr val="bg1"/>
            </a:solidFill>
          </a:defRPr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7.xml><?xml version="1.0" encoding="utf-8"?>
<a:theme xmlns:a="http://schemas.openxmlformats.org/drawingml/2006/main" name="2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555</TotalTime>
  <Words>1132</Words>
  <Application>Microsoft Macintosh PowerPoint</Application>
  <PresentationFormat>Custom</PresentationFormat>
  <Paragraphs>198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2" baseType="lpstr">
      <vt:lpstr>Arial</vt:lpstr>
      <vt:lpstr>Calibri</vt:lpstr>
      <vt:lpstr>Georgia</vt:lpstr>
      <vt:lpstr>Times New Roman</vt:lpstr>
      <vt:lpstr>3_Digital McKinsey - template</vt:lpstr>
      <vt:lpstr>Digital McKinsey - template black</vt:lpstr>
      <vt:lpstr>1_Digital McKinsey - template black</vt:lpstr>
      <vt:lpstr>Digital McKinsey - template</vt:lpstr>
      <vt:lpstr>1_Digital McKinsey - template</vt:lpstr>
      <vt:lpstr>2_Digital McKinsey - template black</vt:lpstr>
      <vt:lpstr>2_Digital McKinsey - template</vt:lpstr>
      <vt:lpstr>think-cell Slide</vt:lpstr>
      <vt:lpstr>Predictive Modeling</vt:lpstr>
      <vt:lpstr>Decision trees </vt:lpstr>
      <vt:lpstr>Decision trees</vt:lpstr>
      <vt:lpstr>Basic principles of decision trees</vt:lpstr>
      <vt:lpstr>There are different techniques to decide on the “best split”</vt:lpstr>
      <vt:lpstr>Decision trees typically outperform in non-linear situations and are highly interpretable </vt:lpstr>
      <vt:lpstr>Improve model performance by combining multiple models into ensemble</vt:lpstr>
      <vt:lpstr>Improve model performance by combining multiple models into ensemble</vt:lpstr>
      <vt:lpstr>Bagging vs. Boosting</vt:lpstr>
      <vt:lpstr>Bagging vs. Boosting</vt:lpstr>
      <vt:lpstr>Bagging explained</vt:lpstr>
      <vt:lpstr>Bagging explained</vt:lpstr>
      <vt:lpstr>Bagging is good for you</vt:lpstr>
      <vt:lpstr>Random Forests are an ensemble model of multiple trees</vt:lpstr>
      <vt:lpstr>Rule of Thumb</vt:lpstr>
      <vt:lpstr>Learning a forest</vt:lpstr>
      <vt:lpstr>Boosting</vt:lpstr>
      <vt:lpstr>Boosting explained</vt:lpstr>
      <vt:lpstr>Boosting Intuition</vt:lpstr>
      <vt:lpstr>There are dozens of u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maghan Khan</dc:creator>
  <cp:lastModifiedBy>Emily Jones</cp:lastModifiedBy>
  <cp:revision>535</cp:revision>
  <dcterms:created xsi:type="dcterms:W3CDTF">2018-02-16T23:11:59Z</dcterms:created>
  <dcterms:modified xsi:type="dcterms:W3CDTF">2020-04-03T13:33:04Z</dcterms:modified>
</cp:coreProperties>
</file>